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2" r:id="rId4"/>
  </p:sldMasterIdLst>
  <p:notesMasterIdLst>
    <p:notesMasterId r:id="rId14"/>
  </p:notesMasterIdLst>
  <p:handoutMasterIdLst>
    <p:handoutMasterId r:id="rId15"/>
  </p:handoutMasterIdLst>
  <p:sldIdLst>
    <p:sldId id="256" r:id="rId5"/>
    <p:sldId id="376" r:id="rId6"/>
    <p:sldId id="378" r:id="rId7"/>
    <p:sldId id="377" r:id="rId8"/>
    <p:sldId id="266" r:id="rId9"/>
    <p:sldId id="336" r:id="rId10"/>
    <p:sldId id="382" r:id="rId11"/>
    <p:sldId id="372" r:id="rId12"/>
    <p:sldId id="305" r:id="rId13"/>
  </p:sldIdLst>
  <p:sldSz cx="9144000" cy="6858000" type="screen4x3"/>
  <p:notesSz cx="7104063" cy="10234613"/>
  <p:defaultTextStyle>
    <a:defPPr>
      <a:defRPr lang="ru-RU"/>
    </a:defPPr>
    <a:lvl1pPr marL="0" algn="l" defTabSz="884585" rtl="0" eaLnBrk="1" latinLnBrk="0" hangingPunct="1">
      <a:defRPr sz="1800" kern="1200">
        <a:solidFill>
          <a:schemeClr val="tx1"/>
        </a:solidFill>
        <a:latin typeface="+mn-lt"/>
        <a:ea typeface="+mn-ea"/>
        <a:cs typeface="+mn-cs"/>
      </a:defRPr>
    </a:lvl1pPr>
    <a:lvl2pPr marL="442263" algn="l" defTabSz="884585" rtl="0" eaLnBrk="1" latinLnBrk="0" hangingPunct="1">
      <a:defRPr sz="1800" kern="1200">
        <a:solidFill>
          <a:schemeClr val="tx1"/>
        </a:solidFill>
        <a:latin typeface="+mn-lt"/>
        <a:ea typeface="+mn-ea"/>
        <a:cs typeface="+mn-cs"/>
      </a:defRPr>
    </a:lvl2pPr>
    <a:lvl3pPr marL="884585" algn="l" defTabSz="884585" rtl="0" eaLnBrk="1" latinLnBrk="0" hangingPunct="1">
      <a:defRPr sz="1800" kern="1200">
        <a:solidFill>
          <a:schemeClr val="tx1"/>
        </a:solidFill>
        <a:latin typeface="+mn-lt"/>
        <a:ea typeface="+mn-ea"/>
        <a:cs typeface="+mn-cs"/>
      </a:defRPr>
    </a:lvl3pPr>
    <a:lvl4pPr marL="1326897" algn="l" defTabSz="884585" rtl="0" eaLnBrk="1" latinLnBrk="0" hangingPunct="1">
      <a:defRPr sz="1800" kern="1200">
        <a:solidFill>
          <a:schemeClr val="tx1"/>
        </a:solidFill>
        <a:latin typeface="+mn-lt"/>
        <a:ea typeface="+mn-ea"/>
        <a:cs typeface="+mn-cs"/>
      </a:defRPr>
    </a:lvl4pPr>
    <a:lvl5pPr marL="1769184" algn="l" defTabSz="884585" rtl="0" eaLnBrk="1" latinLnBrk="0" hangingPunct="1">
      <a:defRPr sz="1800" kern="1200">
        <a:solidFill>
          <a:schemeClr val="tx1"/>
        </a:solidFill>
        <a:latin typeface="+mn-lt"/>
        <a:ea typeface="+mn-ea"/>
        <a:cs typeface="+mn-cs"/>
      </a:defRPr>
    </a:lvl5pPr>
    <a:lvl6pPr marL="2211482" algn="l" defTabSz="884585" rtl="0" eaLnBrk="1" latinLnBrk="0" hangingPunct="1">
      <a:defRPr sz="1800" kern="1200">
        <a:solidFill>
          <a:schemeClr val="tx1"/>
        </a:solidFill>
        <a:latin typeface="+mn-lt"/>
        <a:ea typeface="+mn-ea"/>
        <a:cs typeface="+mn-cs"/>
      </a:defRPr>
    </a:lvl6pPr>
    <a:lvl7pPr marL="2653783" algn="l" defTabSz="884585" rtl="0" eaLnBrk="1" latinLnBrk="0" hangingPunct="1">
      <a:defRPr sz="1800" kern="1200">
        <a:solidFill>
          <a:schemeClr val="tx1"/>
        </a:solidFill>
        <a:latin typeface="+mn-lt"/>
        <a:ea typeface="+mn-ea"/>
        <a:cs typeface="+mn-cs"/>
      </a:defRPr>
    </a:lvl7pPr>
    <a:lvl8pPr marL="3096083" algn="l" defTabSz="884585" rtl="0" eaLnBrk="1" latinLnBrk="0" hangingPunct="1">
      <a:defRPr sz="1800" kern="1200">
        <a:solidFill>
          <a:schemeClr val="tx1"/>
        </a:solidFill>
        <a:latin typeface="+mn-lt"/>
        <a:ea typeface="+mn-ea"/>
        <a:cs typeface="+mn-cs"/>
      </a:defRPr>
    </a:lvl8pPr>
    <a:lvl9pPr marL="3538375" algn="l" defTabSz="88458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71">
          <p15:clr>
            <a:srgbClr val="A4A3A4"/>
          </p15:clr>
        </p15:guide>
        <p15:guide id="2" pos="385">
          <p15:clr>
            <a:srgbClr val="A4A3A4"/>
          </p15:clr>
        </p15:guide>
        <p15:guide id="3" pos="3152">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Гавдифаттова Ксения Николаевна" initials="ГКН"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A685"/>
    <a:srgbClr val="67C100"/>
    <a:srgbClr val="025EA1"/>
    <a:srgbClr val="000000"/>
    <a:srgbClr val="191919"/>
    <a:srgbClr val="E5DDC8"/>
    <a:srgbClr val="4596D1"/>
    <a:srgbClr val="003274"/>
    <a:srgbClr val="F781DB"/>
    <a:srgbClr val="CAE8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0A1B5D5-9B99-4C35-A422-299274C87663}" styleName="Средний стиль 1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Светлый стиль 2 - акцент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B344D84-9AFB-497E-A393-DC336BA19D2E}" styleName="Средний стиль 3 — акцент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205" autoAdjust="0"/>
    <p:restoredTop sz="93867" autoAdjust="0"/>
  </p:normalViewPr>
  <p:slideViewPr>
    <p:cSldViewPr showGuides="1">
      <p:cViewPr varScale="1">
        <p:scale>
          <a:sx n="63" d="100"/>
          <a:sy n="63" d="100"/>
        </p:scale>
        <p:origin x="1128" y="60"/>
      </p:cViewPr>
      <p:guideLst>
        <p:guide orient="horz" pos="1071"/>
        <p:guide pos="385"/>
        <p:guide pos="3152"/>
      </p:guideLst>
    </p:cSldViewPr>
  </p:slideViewPr>
  <p:outlineViewPr>
    <p:cViewPr>
      <p:scale>
        <a:sx n="33" d="100"/>
        <a:sy n="33" d="100"/>
      </p:scale>
      <p:origin x="0" y="0"/>
    </p:cViewPr>
  </p:outlineViewPr>
  <p:notesTextViewPr>
    <p:cViewPr>
      <p:scale>
        <a:sx n="3" d="2"/>
        <a:sy n="3" d="2"/>
      </p:scale>
      <p:origin x="0" y="0"/>
    </p:cViewPr>
  </p:notesTextViewPr>
  <p:sorterViewPr>
    <p:cViewPr>
      <p:scale>
        <a:sx n="200" d="100"/>
        <a:sy n="2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6"/>
    </mc:Choice>
    <mc:Fallback>
      <c:style val="16"/>
    </mc:Fallback>
  </mc:AlternateContent>
  <c:chart>
    <c:autoTitleDeleted val="1"/>
    <c:plotArea>
      <c:layout/>
      <c:doughnutChart>
        <c:varyColors val="1"/>
        <c:ser>
          <c:idx val="0"/>
          <c:order val="0"/>
          <c:tx>
            <c:strRef>
              <c:f>Sheet1!$B$1</c:f>
              <c:strCache>
                <c:ptCount val="1"/>
                <c:pt idx="0">
                  <c:v>Sales</c:v>
                </c:pt>
              </c:strCache>
            </c:strRef>
          </c:tx>
          <c:spPr>
            <a:effectLst/>
          </c:spPr>
          <c:dPt>
            <c:idx val="0"/>
            <c:bubble3D val="0"/>
            <c:spPr>
              <a:solidFill>
                <a:schemeClr val="accent2">
                  <a:lumMod val="60000"/>
                  <a:lumOff val="40000"/>
                </a:schemeClr>
              </a:solidFill>
              <a:effectLst/>
            </c:spPr>
            <c:extLst>
              <c:ext xmlns:c16="http://schemas.microsoft.com/office/drawing/2014/chart" uri="{C3380CC4-5D6E-409C-BE32-E72D297353CC}">
                <c16:uniqueId val="{00000001-F6FA-4065-8E6C-925D95513CAB}"/>
              </c:ext>
            </c:extLst>
          </c:dPt>
          <c:dPt>
            <c:idx val="1"/>
            <c:bubble3D val="0"/>
            <c:spPr>
              <a:solidFill>
                <a:schemeClr val="bg2"/>
              </a:solidFill>
              <a:effectLst/>
            </c:spPr>
            <c:extLst>
              <c:ext xmlns:c16="http://schemas.microsoft.com/office/drawing/2014/chart" uri="{C3380CC4-5D6E-409C-BE32-E72D297353CC}">
                <c16:uniqueId val="{00000003-F6FA-4065-8E6C-925D95513CAB}"/>
              </c:ext>
            </c:extLst>
          </c:dPt>
          <c:dPt>
            <c:idx val="2"/>
            <c:bubble3D val="0"/>
            <c:spPr>
              <a:solidFill>
                <a:schemeClr val="accent4"/>
              </a:solidFill>
              <a:effectLst/>
            </c:spPr>
            <c:extLst>
              <c:ext xmlns:c16="http://schemas.microsoft.com/office/drawing/2014/chart" uri="{C3380CC4-5D6E-409C-BE32-E72D297353CC}">
                <c16:uniqueId val="{00000005-F6FA-4065-8E6C-925D95513CAB}"/>
              </c:ext>
            </c:extLst>
          </c:dPt>
          <c:dPt>
            <c:idx val="3"/>
            <c:bubble3D val="0"/>
            <c:spPr>
              <a:solidFill>
                <a:schemeClr val="accent5"/>
              </a:solidFill>
              <a:effectLst/>
            </c:spPr>
            <c:extLst>
              <c:ext xmlns:c16="http://schemas.microsoft.com/office/drawing/2014/chart" uri="{C3380CC4-5D6E-409C-BE32-E72D297353CC}">
                <c16:uniqueId val="{00000007-F6FA-4065-8E6C-925D95513CAB}"/>
              </c:ext>
            </c:extLst>
          </c:dPt>
          <c:dPt>
            <c:idx val="4"/>
            <c:bubble3D val="0"/>
            <c:spPr>
              <a:solidFill>
                <a:schemeClr val="tx2"/>
              </a:solidFill>
              <a:effectLst/>
            </c:spPr>
            <c:extLst>
              <c:ext xmlns:c16="http://schemas.microsoft.com/office/drawing/2014/chart" uri="{C3380CC4-5D6E-409C-BE32-E72D297353CC}">
                <c16:uniqueId val="{00000009-F6FA-4065-8E6C-925D95513CAB}"/>
              </c:ext>
            </c:extLst>
          </c:dPt>
          <c:dPt>
            <c:idx val="5"/>
            <c:bubble3D val="0"/>
            <c:spPr>
              <a:solidFill>
                <a:schemeClr val="bg1">
                  <a:lumMod val="50000"/>
                </a:schemeClr>
              </a:solidFill>
              <a:effectLst/>
            </c:spPr>
            <c:extLst>
              <c:ext xmlns:c16="http://schemas.microsoft.com/office/drawing/2014/chart" uri="{C3380CC4-5D6E-409C-BE32-E72D297353CC}">
                <c16:uniqueId val="{0000000B-F6FA-4065-8E6C-925D95513CAB}"/>
              </c:ext>
            </c:extLst>
          </c:dPt>
          <c:dPt>
            <c:idx val="6"/>
            <c:bubble3D val="0"/>
            <c:spPr>
              <a:solidFill>
                <a:schemeClr val="accent2">
                  <a:lumMod val="75000"/>
                </a:schemeClr>
              </a:solidFill>
              <a:effectLst/>
            </c:spPr>
            <c:extLst>
              <c:ext xmlns:c16="http://schemas.microsoft.com/office/drawing/2014/chart" uri="{C3380CC4-5D6E-409C-BE32-E72D297353CC}">
                <c16:uniqueId val="{0000000D-F6FA-4065-8E6C-925D95513CAB}"/>
              </c:ext>
            </c:extLst>
          </c:dPt>
          <c:dPt>
            <c:idx val="7"/>
            <c:bubble3D val="0"/>
            <c:spPr>
              <a:solidFill>
                <a:schemeClr val="accent1"/>
              </a:solidFill>
              <a:effectLst/>
            </c:spPr>
            <c:extLst>
              <c:ext xmlns:c16="http://schemas.microsoft.com/office/drawing/2014/chart" uri="{C3380CC4-5D6E-409C-BE32-E72D297353CC}">
                <c16:uniqueId val="{0000000F-F6FA-4065-8E6C-925D95513CAB}"/>
              </c:ext>
            </c:extLst>
          </c:dPt>
          <c:cat>
            <c:numRef>
              <c:f>Sheet1!$A$2:$A$9</c:f>
              <c:numCache>
                <c:formatCode>General</c:formatCode>
                <c:ptCount val="8"/>
                <c:pt idx="0">
                  <c:v>1</c:v>
                </c:pt>
                <c:pt idx="1">
                  <c:v>2</c:v>
                </c:pt>
                <c:pt idx="2">
                  <c:v>3</c:v>
                </c:pt>
                <c:pt idx="3">
                  <c:v>4</c:v>
                </c:pt>
                <c:pt idx="4">
                  <c:v>5</c:v>
                </c:pt>
                <c:pt idx="5">
                  <c:v>6</c:v>
                </c:pt>
                <c:pt idx="6">
                  <c:v>7</c:v>
                </c:pt>
                <c:pt idx="7">
                  <c:v>8</c:v>
                </c:pt>
              </c:numCache>
            </c:numRef>
          </c:cat>
          <c:val>
            <c:numRef>
              <c:f>Sheet1!$B$2:$B$9</c:f>
              <c:numCache>
                <c:formatCode>General</c:formatCode>
                <c:ptCount val="8"/>
                <c:pt idx="0">
                  <c:v>10</c:v>
                </c:pt>
                <c:pt idx="1">
                  <c:v>10</c:v>
                </c:pt>
                <c:pt idx="2">
                  <c:v>10</c:v>
                </c:pt>
                <c:pt idx="3">
                  <c:v>10</c:v>
                </c:pt>
                <c:pt idx="4">
                  <c:v>10</c:v>
                </c:pt>
                <c:pt idx="5">
                  <c:v>10</c:v>
                </c:pt>
                <c:pt idx="6">
                  <c:v>10</c:v>
                </c:pt>
                <c:pt idx="7">
                  <c:v>10</c:v>
                </c:pt>
              </c:numCache>
            </c:numRef>
          </c:val>
          <c:extLst>
            <c:ext xmlns:c16="http://schemas.microsoft.com/office/drawing/2014/chart" uri="{C3380CC4-5D6E-409C-BE32-E72D297353CC}">
              <c16:uniqueId val="{00000010-F6FA-4065-8E6C-925D95513CAB}"/>
            </c:ext>
          </c:extLst>
        </c:ser>
        <c:dLbls>
          <c:showLegendKey val="0"/>
          <c:showVal val="0"/>
          <c:showCatName val="0"/>
          <c:showSerName val="0"/>
          <c:showPercent val="0"/>
          <c:showBubbleSize val="0"/>
          <c:showLeaderLines val="1"/>
        </c:dLbls>
        <c:firstSliceAng val="0"/>
        <c:holeSize val="72"/>
      </c:doughnutChart>
    </c:plotArea>
    <c:plotVisOnly val="1"/>
    <c:dispBlanksAs val="zero"/>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3079202" cy="512304"/>
          </a:xfrm>
          <a:prstGeom prst="rect">
            <a:avLst/>
          </a:prstGeom>
        </p:spPr>
        <p:txBody>
          <a:bodyPr vert="horz" lIns="94788" tIns="47394" rIns="94788" bIns="47394" rtlCol="0"/>
          <a:lstStyle>
            <a:lvl1pPr algn="l">
              <a:defRPr sz="1200"/>
            </a:lvl1pPr>
          </a:lstStyle>
          <a:p>
            <a:endParaRPr lang="ru-RU" dirty="0">
              <a:latin typeface="Arial" panose="020B0604020202020204" pitchFamily="34" charset="0"/>
            </a:endParaRPr>
          </a:p>
        </p:txBody>
      </p:sp>
      <p:sp>
        <p:nvSpPr>
          <p:cNvPr id="3" name="Дата 2"/>
          <p:cNvSpPr>
            <a:spLocks noGrp="1"/>
          </p:cNvSpPr>
          <p:nvPr>
            <p:ph type="dt" sz="quarter" idx="1"/>
          </p:nvPr>
        </p:nvSpPr>
        <p:spPr>
          <a:xfrm>
            <a:off x="4023204" y="0"/>
            <a:ext cx="3079202" cy="512304"/>
          </a:xfrm>
          <a:prstGeom prst="rect">
            <a:avLst/>
          </a:prstGeom>
        </p:spPr>
        <p:txBody>
          <a:bodyPr vert="horz" lIns="94788" tIns="47394" rIns="94788" bIns="47394" rtlCol="0"/>
          <a:lstStyle>
            <a:lvl1pPr algn="r">
              <a:defRPr sz="1200"/>
            </a:lvl1pPr>
          </a:lstStyle>
          <a:p>
            <a:fld id="{BCD50707-47F6-44CF-8887-909307D99A09}" type="datetimeFigureOut">
              <a:rPr lang="ru-RU" smtClean="0">
                <a:latin typeface="Arial" panose="020B0604020202020204" pitchFamily="34" charset="0"/>
              </a:rPr>
              <a:pPr/>
              <a:t>17.05.2019</a:t>
            </a:fld>
            <a:endParaRPr lang="ru-RU" dirty="0">
              <a:latin typeface="Arial" panose="020B0604020202020204" pitchFamily="34" charset="0"/>
            </a:endParaRPr>
          </a:p>
        </p:txBody>
      </p:sp>
      <p:sp>
        <p:nvSpPr>
          <p:cNvPr id="4" name="Нижний колонтитул 3"/>
          <p:cNvSpPr>
            <a:spLocks noGrp="1"/>
          </p:cNvSpPr>
          <p:nvPr>
            <p:ph type="ftr" sz="quarter" idx="2"/>
          </p:nvPr>
        </p:nvSpPr>
        <p:spPr>
          <a:xfrm>
            <a:off x="0" y="9720674"/>
            <a:ext cx="3079202" cy="512303"/>
          </a:xfrm>
          <a:prstGeom prst="rect">
            <a:avLst/>
          </a:prstGeom>
        </p:spPr>
        <p:txBody>
          <a:bodyPr vert="horz" lIns="94788" tIns="47394" rIns="94788" bIns="47394" rtlCol="0" anchor="b"/>
          <a:lstStyle>
            <a:lvl1pPr algn="l">
              <a:defRPr sz="1200"/>
            </a:lvl1pPr>
          </a:lstStyle>
          <a:p>
            <a:endParaRPr lang="ru-RU" dirty="0">
              <a:latin typeface="Arial" panose="020B0604020202020204" pitchFamily="34" charset="0"/>
            </a:endParaRPr>
          </a:p>
        </p:txBody>
      </p:sp>
      <p:sp>
        <p:nvSpPr>
          <p:cNvPr id="5" name="Номер слайда 4"/>
          <p:cNvSpPr>
            <a:spLocks noGrp="1"/>
          </p:cNvSpPr>
          <p:nvPr>
            <p:ph type="sldNum" sz="quarter" idx="3"/>
          </p:nvPr>
        </p:nvSpPr>
        <p:spPr>
          <a:xfrm>
            <a:off x="4023204" y="9720674"/>
            <a:ext cx="3079202" cy="512303"/>
          </a:xfrm>
          <a:prstGeom prst="rect">
            <a:avLst/>
          </a:prstGeom>
        </p:spPr>
        <p:txBody>
          <a:bodyPr vert="horz" lIns="94788" tIns="47394" rIns="94788" bIns="47394" rtlCol="0" anchor="b"/>
          <a:lstStyle>
            <a:lvl1pPr algn="r">
              <a:defRPr sz="1200"/>
            </a:lvl1pPr>
          </a:lstStyle>
          <a:p>
            <a:fld id="{A2818B80-E5A9-4AA6-9FFF-182F623F9F5E}" type="slidenum">
              <a:rPr lang="ru-RU" smtClean="0">
                <a:latin typeface="Arial" panose="020B0604020202020204" pitchFamily="34" charset="0"/>
              </a:rPr>
              <a:pPr/>
              <a:t>‹#›</a:t>
            </a:fld>
            <a:endParaRPr lang="ru-RU" dirty="0">
              <a:latin typeface="Arial" panose="020B0604020202020204" pitchFamily="34" charset="0"/>
            </a:endParaRPr>
          </a:p>
        </p:txBody>
      </p:sp>
    </p:spTree>
    <p:extLst>
      <p:ext uri="{BB962C8B-B14F-4D97-AF65-F5344CB8AC3E}">
        <p14:creationId xmlns:p14="http://schemas.microsoft.com/office/powerpoint/2010/main" val="1610810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1"/>
            <a:ext cx="3078427" cy="511731"/>
          </a:xfrm>
          <a:prstGeom prst="rect">
            <a:avLst/>
          </a:prstGeom>
        </p:spPr>
        <p:txBody>
          <a:bodyPr vert="horz" lIns="94788" tIns="47394" rIns="94788" bIns="47394" rtlCol="0"/>
          <a:lstStyle>
            <a:lvl1pPr algn="l">
              <a:defRPr sz="1200">
                <a:latin typeface="Arial" panose="020B0604020202020204" pitchFamily="34" charset="0"/>
              </a:defRPr>
            </a:lvl1pPr>
          </a:lstStyle>
          <a:p>
            <a:endParaRPr lang="ru-RU" dirty="0"/>
          </a:p>
        </p:txBody>
      </p:sp>
      <p:sp>
        <p:nvSpPr>
          <p:cNvPr id="3" name="Дата 2"/>
          <p:cNvSpPr>
            <a:spLocks noGrp="1"/>
          </p:cNvSpPr>
          <p:nvPr>
            <p:ph type="dt" idx="1"/>
          </p:nvPr>
        </p:nvSpPr>
        <p:spPr>
          <a:xfrm>
            <a:off x="4023994" y="1"/>
            <a:ext cx="3078427" cy="511731"/>
          </a:xfrm>
          <a:prstGeom prst="rect">
            <a:avLst/>
          </a:prstGeom>
        </p:spPr>
        <p:txBody>
          <a:bodyPr vert="horz" lIns="94788" tIns="47394" rIns="94788" bIns="47394" rtlCol="0"/>
          <a:lstStyle>
            <a:lvl1pPr algn="r">
              <a:defRPr sz="1200">
                <a:latin typeface="Arial" panose="020B0604020202020204" pitchFamily="34" charset="0"/>
              </a:defRPr>
            </a:lvl1pPr>
          </a:lstStyle>
          <a:p>
            <a:fld id="{0DB3C063-264E-483C-87E2-965AAB0DF59A}" type="datetimeFigureOut">
              <a:rPr lang="ru-RU" smtClean="0"/>
              <a:pPr/>
              <a:t>17.05.2019</a:t>
            </a:fld>
            <a:endParaRPr lang="ru-RU" dirty="0"/>
          </a:p>
        </p:txBody>
      </p:sp>
      <p:sp>
        <p:nvSpPr>
          <p:cNvPr id="4" name="Образ слайда 3"/>
          <p:cNvSpPr>
            <a:spLocks noGrp="1" noRot="1" noChangeAspect="1"/>
          </p:cNvSpPr>
          <p:nvPr>
            <p:ph type="sldImg" idx="2"/>
          </p:nvPr>
        </p:nvSpPr>
        <p:spPr>
          <a:xfrm>
            <a:off x="993775" y="768350"/>
            <a:ext cx="5116513" cy="3836988"/>
          </a:xfrm>
          <a:prstGeom prst="rect">
            <a:avLst/>
          </a:prstGeom>
          <a:noFill/>
          <a:ln w="12700">
            <a:solidFill>
              <a:prstClr val="black"/>
            </a:solidFill>
          </a:ln>
        </p:spPr>
        <p:txBody>
          <a:bodyPr vert="horz" lIns="94788" tIns="47394" rIns="94788" bIns="47394" rtlCol="0" anchor="ctr"/>
          <a:lstStyle/>
          <a:p>
            <a:endParaRPr lang="ru-RU" dirty="0"/>
          </a:p>
        </p:txBody>
      </p:sp>
      <p:sp>
        <p:nvSpPr>
          <p:cNvPr id="5" name="Заметки 4"/>
          <p:cNvSpPr>
            <a:spLocks noGrp="1"/>
          </p:cNvSpPr>
          <p:nvPr>
            <p:ph type="body" sz="quarter" idx="3"/>
          </p:nvPr>
        </p:nvSpPr>
        <p:spPr>
          <a:xfrm>
            <a:off x="710407" y="4861443"/>
            <a:ext cx="5683250" cy="4605576"/>
          </a:xfrm>
          <a:prstGeom prst="rect">
            <a:avLst/>
          </a:prstGeom>
        </p:spPr>
        <p:txBody>
          <a:bodyPr vert="horz" lIns="94788" tIns="47394" rIns="94788" bIns="47394" rtlCol="0"/>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6" name="Нижний колонтитул 5"/>
          <p:cNvSpPr>
            <a:spLocks noGrp="1"/>
          </p:cNvSpPr>
          <p:nvPr>
            <p:ph type="ftr" sz="quarter" idx="4"/>
          </p:nvPr>
        </p:nvSpPr>
        <p:spPr>
          <a:xfrm>
            <a:off x="2" y="9721107"/>
            <a:ext cx="3078427" cy="511731"/>
          </a:xfrm>
          <a:prstGeom prst="rect">
            <a:avLst/>
          </a:prstGeom>
        </p:spPr>
        <p:txBody>
          <a:bodyPr vert="horz" lIns="94788" tIns="47394" rIns="94788" bIns="47394" rtlCol="0" anchor="b"/>
          <a:lstStyle>
            <a:lvl1pPr algn="l">
              <a:defRPr sz="1200">
                <a:latin typeface="Arial" panose="020B0604020202020204" pitchFamily="34" charset="0"/>
              </a:defRPr>
            </a:lvl1pPr>
          </a:lstStyle>
          <a:p>
            <a:endParaRPr lang="ru-RU" dirty="0"/>
          </a:p>
        </p:txBody>
      </p:sp>
      <p:sp>
        <p:nvSpPr>
          <p:cNvPr id="7" name="Номер слайда 6"/>
          <p:cNvSpPr>
            <a:spLocks noGrp="1"/>
          </p:cNvSpPr>
          <p:nvPr>
            <p:ph type="sldNum" sz="quarter" idx="5"/>
          </p:nvPr>
        </p:nvSpPr>
        <p:spPr>
          <a:xfrm>
            <a:off x="4023994" y="9721107"/>
            <a:ext cx="3078427" cy="511731"/>
          </a:xfrm>
          <a:prstGeom prst="rect">
            <a:avLst/>
          </a:prstGeom>
        </p:spPr>
        <p:txBody>
          <a:bodyPr vert="horz" lIns="94788" tIns="47394" rIns="94788" bIns="47394" rtlCol="0" anchor="b"/>
          <a:lstStyle>
            <a:lvl1pPr algn="r">
              <a:defRPr sz="1200">
                <a:latin typeface="Arial" panose="020B0604020202020204" pitchFamily="34" charset="0"/>
              </a:defRPr>
            </a:lvl1pPr>
          </a:lstStyle>
          <a:p>
            <a:fld id="{9760C1C1-BC8F-4913-8DB0-3A0FA480878F}" type="slidenum">
              <a:rPr lang="ru-RU" smtClean="0"/>
              <a:pPr/>
              <a:t>‹#›</a:t>
            </a:fld>
            <a:endParaRPr lang="ru-RU" dirty="0"/>
          </a:p>
        </p:txBody>
      </p:sp>
    </p:spTree>
    <p:extLst>
      <p:ext uri="{BB962C8B-B14F-4D97-AF65-F5344CB8AC3E}">
        <p14:creationId xmlns:p14="http://schemas.microsoft.com/office/powerpoint/2010/main" val="3524798152"/>
      </p:ext>
    </p:extLst>
  </p:cSld>
  <p:clrMap bg1="lt1" tx1="dk1" bg2="lt2" tx2="dk2" accent1="accent1" accent2="accent2" accent3="accent3" accent4="accent4" accent5="accent5" accent6="accent6" hlink="hlink" folHlink="folHlink"/>
  <p:notesStyle>
    <a:lvl1pPr marL="0" algn="l" defTabSz="884585" rtl="0" eaLnBrk="1" latinLnBrk="0" hangingPunct="1">
      <a:defRPr sz="1200" kern="1200">
        <a:solidFill>
          <a:schemeClr val="tx1"/>
        </a:solidFill>
        <a:latin typeface="Arial" panose="020B0604020202020204" pitchFamily="34" charset="0"/>
        <a:ea typeface="+mn-ea"/>
        <a:cs typeface="+mn-cs"/>
      </a:defRPr>
    </a:lvl1pPr>
    <a:lvl2pPr marL="442263" algn="l" defTabSz="884585" rtl="0" eaLnBrk="1" latinLnBrk="0" hangingPunct="1">
      <a:defRPr sz="1200" kern="1200">
        <a:solidFill>
          <a:schemeClr val="tx1"/>
        </a:solidFill>
        <a:latin typeface="Arial" panose="020B0604020202020204" pitchFamily="34" charset="0"/>
        <a:ea typeface="+mn-ea"/>
        <a:cs typeface="+mn-cs"/>
      </a:defRPr>
    </a:lvl2pPr>
    <a:lvl3pPr marL="884585" algn="l" defTabSz="884585" rtl="0" eaLnBrk="1" latinLnBrk="0" hangingPunct="1">
      <a:defRPr sz="1200" kern="1200">
        <a:solidFill>
          <a:schemeClr val="tx1"/>
        </a:solidFill>
        <a:latin typeface="Arial" panose="020B0604020202020204" pitchFamily="34" charset="0"/>
        <a:ea typeface="+mn-ea"/>
        <a:cs typeface="+mn-cs"/>
      </a:defRPr>
    </a:lvl3pPr>
    <a:lvl4pPr marL="1326897" algn="l" defTabSz="884585" rtl="0" eaLnBrk="1" latinLnBrk="0" hangingPunct="1">
      <a:defRPr sz="1200" kern="1200">
        <a:solidFill>
          <a:schemeClr val="tx1"/>
        </a:solidFill>
        <a:latin typeface="Arial" panose="020B0604020202020204" pitchFamily="34" charset="0"/>
        <a:ea typeface="+mn-ea"/>
        <a:cs typeface="+mn-cs"/>
      </a:defRPr>
    </a:lvl4pPr>
    <a:lvl5pPr marL="1769184" algn="l" defTabSz="884585" rtl="0" eaLnBrk="1" latinLnBrk="0" hangingPunct="1">
      <a:defRPr sz="1200" kern="1200">
        <a:solidFill>
          <a:schemeClr val="tx1"/>
        </a:solidFill>
        <a:latin typeface="Arial" panose="020B0604020202020204" pitchFamily="34" charset="0"/>
        <a:ea typeface="+mn-ea"/>
        <a:cs typeface="+mn-cs"/>
      </a:defRPr>
    </a:lvl5pPr>
    <a:lvl6pPr marL="2211482" algn="l" defTabSz="884585" rtl="0" eaLnBrk="1" latinLnBrk="0" hangingPunct="1">
      <a:defRPr sz="1200" kern="1200">
        <a:solidFill>
          <a:schemeClr val="tx1"/>
        </a:solidFill>
        <a:latin typeface="+mn-lt"/>
        <a:ea typeface="+mn-ea"/>
        <a:cs typeface="+mn-cs"/>
      </a:defRPr>
    </a:lvl6pPr>
    <a:lvl7pPr marL="2653783" algn="l" defTabSz="884585" rtl="0" eaLnBrk="1" latinLnBrk="0" hangingPunct="1">
      <a:defRPr sz="1200" kern="1200">
        <a:solidFill>
          <a:schemeClr val="tx1"/>
        </a:solidFill>
        <a:latin typeface="+mn-lt"/>
        <a:ea typeface="+mn-ea"/>
        <a:cs typeface="+mn-cs"/>
      </a:defRPr>
    </a:lvl7pPr>
    <a:lvl8pPr marL="3096083" algn="l" defTabSz="884585" rtl="0" eaLnBrk="1" latinLnBrk="0" hangingPunct="1">
      <a:defRPr sz="1200" kern="1200">
        <a:solidFill>
          <a:schemeClr val="tx1"/>
        </a:solidFill>
        <a:latin typeface="+mn-lt"/>
        <a:ea typeface="+mn-ea"/>
        <a:cs typeface="+mn-cs"/>
      </a:defRPr>
    </a:lvl8pPr>
    <a:lvl9pPr marL="3538375" algn="l" defTabSz="88458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1069975" y="787400"/>
            <a:ext cx="5284788" cy="3962400"/>
          </a:xfrm>
          <a:ln/>
        </p:spPr>
      </p:sp>
      <p:sp>
        <p:nvSpPr>
          <p:cNvPr id="3" name="Notes Placeholder 2"/>
          <p:cNvSpPr>
            <a:spLocks noGrp="1"/>
          </p:cNvSpPr>
          <p:nvPr>
            <p:ph type="body" idx="1"/>
          </p:nvPr>
        </p:nvSpPr>
        <p:spPr/>
        <p:txBody>
          <a:bodyPr>
            <a:normAutofit/>
          </a:bodyPr>
          <a:lstStyle/>
          <a:p>
            <a:pPr eaLnBrk="1" hangingPunct="1">
              <a:defRPr/>
            </a:pPr>
            <a:endParaRPr lang="ru-RU" dirty="0"/>
          </a:p>
        </p:txBody>
      </p:sp>
      <p:sp>
        <p:nvSpPr>
          <p:cNvPr id="97284" name="Slide Number Placeholder 3"/>
          <p:cNvSpPr>
            <a:spLocks noGrp="1"/>
          </p:cNvSpPr>
          <p:nvPr>
            <p:ph type="sldNum" sz="quarter" idx="5"/>
          </p:nvPr>
        </p:nvSpPr>
        <p:spPr>
          <a:noFill/>
        </p:spPr>
        <p:txBody>
          <a:bodyPr/>
          <a:lstStyle/>
          <a:p>
            <a:fld id="{67E848BB-E633-492B-975B-01032BAECF57}" type="slidenum">
              <a:rPr lang="ru-RU" smtClean="0">
                <a:solidFill>
                  <a:prstClr val="black"/>
                </a:solidFill>
                <a:cs typeface="Arial" pitchFamily="34" charset="0"/>
              </a:rPr>
              <a:pPr/>
              <a:t>1</a:t>
            </a:fld>
            <a:endParaRPr lang="ru-RU">
              <a:solidFill>
                <a:prstClr val="black"/>
              </a:solidFill>
              <a:cs typeface="Arial" pitchFamily="34" charset="0"/>
            </a:endParaRPr>
          </a:p>
        </p:txBody>
      </p:sp>
    </p:spTree>
    <p:extLst>
      <p:ext uri="{BB962C8B-B14F-4D97-AF65-F5344CB8AC3E}">
        <p14:creationId xmlns:p14="http://schemas.microsoft.com/office/powerpoint/2010/main" val="29547788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GB" dirty="0"/>
          </a:p>
        </p:txBody>
      </p:sp>
      <p:sp>
        <p:nvSpPr>
          <p:cNvPr id="4" name="Номер слайда 3"/>
          <p:cNvSpPr>
            <a:spLocks noGrp="1"/>
          </p:cNvSpPr>
          <p:nvPr>
            <p:ph type="sldNum" sz="quarter" idx="5"/>
          </p:nvPr>
        </p:nvSpPr>
        <p:spPr/>
        <p:txBody>
          <a:bodyPr/>
          <a:lstStyle/>
          <a:p>
            <a:fld id="{9760C1C1-BC8F-4913-8DB0-3A0FA480878F}" type="slidenum">
              <a:rPr lang="ru-RU" smtClean="0"/>
              <a:pPr/>
              <a:t>2</a:t>
            </a:fld>
            <a:endParaRPr lang="ru-RU" dirty="0"/>
          </a:p>
        </p:txBody>
      </p:sp>
    </p:spTree>
    <p:extLst>
      <p:ext uri="{BB962C8B-B14F-4D97-AF65-F5344CB8AC3E}">
        <p14:creationId xmlns:p14="http://schemas.microsoft.com/office/powerpoint/2010/main" val="31144863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914400" y="741363"/>
            <a:ext cx="4968875" cy="3727450"/>
          </a:xfrm>
          <a:ln/>
        </p:spPr>
      </p:sp>
      <p:sp>
        <p:nvSpPr>
          <p:cNvPr id="3" name="Notes Placeholder 2"/>
          <p:cNvSpPr>
            <a:spLocks noGrp="1"/>
          </p:cNvSpPr>
          <p:nvPr>
            <p:ph type="body" idx="1"/>
          </p:nvPr>
        </p:nvSpPr>
        <p:spPr/>
        <p:txBody>
          <a:bodyPr>
            <a:normAutofit lnSpcReduction="10000"/>
          </a:bodyPr>
          <a:lstStyle/>
          <a:p>
            <a:endParaRPr lang="ru-RU" dirty="0"/>
          </a:p>
        </p:txBody>
      </p:sp>
      <p:sp>
        <p:nvSpPr>
          <p:cNvPr id="97284" name="Slide Number Placeholder 3"/>
          <p:cNvSpPr>
            <a:spLocks noGrp="1"/>
          </p:cNvSpPr>
          <p:nvPr>
            <p:ph type="sldNum" sz="quarter" idx="5"/>
          </p:nvPr>
        </p:nvSpPr>
        <p:spPr>
          <a:noFill/>
        </p:spPr>
        <p:txBody>
          <a:bodyPr/>
          <a:lstStyle/>
          <a:p>
            <a:fld id="{67E848BB-E633-492B-975B-01032BAECF57}" type="slidenum">
              <a:rPr lang="ru-RU" smtClean="0">
                <a:solidFill>
                  <a:prstClr val="black"/>
                </a:solidFill>
                <a:cs typeface="Arial" pitchFamily="34" charset="0"/>
              </a:rPr>
              <a:pPr/>
              <a:t>3</a:t>
            </a:fld>
            <a:endParaRPr lang="ru-RU">
              <a:solidFill>
                <a:prstClr val="black"/>
              </a:solidFill>
              <a:cs typeface="Arial" pitchFamily="34" charset="0"/>
            </a:endParaRPr>
          </a:p>
        </p:txBody>
      </p:sp>
    </p:spTree>
    <p:extLst>
      <p:ext uri="{BB962C8B-B14F-4D97-AF65-F5344CB8AC3E}">
        <p14:creationId xmlns:p14="http://schemas.microsoft.com/office/powerpoint/2010/main" val="36556877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673100" y="808038"/>
            <a:ext cx="5391150" cy="4043362"/>
          </a:xfrm>
          <a:ln/>
        </p:spPr>
      </p:sp>
      <p:sp>
        <p:nvSpPr>
          <p:cNvPr id="3" name="Notes Placeholder 2"/>
          <p:cNvSpPr>
            <a:spLocks noGrp="1"/>
          </p:cNvSpPr>
          <p:nvPr>
            <p:ph type="body" idx="1"/>
          </p:nvPr>
        </p:nvSpPr>
        <p:spPr/>
        <p:txBody>
          <a:bodyPr>
            <a:normAutofit/>
          </a:bodyPr>
          <a:lstStyle/>
          <a:p>
            <a:pPr eaLnBrk="1" hangingPunct="1">
              <a:defRPr/>
            </a:pPr>
            <a:endParaRPr lang="ru-RU" dirty="0"/>
          </a:p>
        </p:txBody>
      </p:sp>
      <p:sp>
        <p:nvSpPr>
          <p:cNvPr id="97284" name="Slide Number Placeholder 3"/>
          <p:cNvSpPr>
            <a:spLocks noGrp="1"/>
          </p:cNvSpPr>
          <p:nvPr>
            <p:ph type="sldNum" sz="quarter" idx="5"/>
          </p:nvPr>
        </p:nvSpPr>
        <p:spPr>
          <a:noFill/>
        </p:spPr>
        <p:txBody>
          <a:bodyPr/>
          <a:lstStyle/>
          <a:p>
            <a:fld id="{67E848BB-E633-492B-975B-01032BAECF57}" type="slidenum">
              <a:rPr lang="ru-RU">
                <a:solidFill>
                  <a:prstClr val="black"/>
                </a:solidFill>
                <a:cs typeface="Arial" pitchFamily="34" charset="0"/>
              </a:rPr>
              <a:pPr/>
              <a:t>4</a:t>
            </a:fld>
            <a:endParaRPr lang="ru-RU">
              <a:solidFill>
                <a:prstClr val="black"/>
              </a:solidFill>
              <a:cs typeface="Arial" pitchFamily="34" charset="0"/>
            </a:endParaRPr>
          </a:p>
        </p:txBody>
      </p:sp>
    </p:spTree>
    <p:extLst>
      <p:ext uri="{BB962C8B-B14F-4D97-AF65-F5344CB8AC3E}">
        <p14:creationId xmlns:p14="http://schemas.microsoft.com/office/powerpoint/2010/main" val="1751963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1073150" y="792163"/>
            <a:ext cx="5278438" cy="3957637"/>
          </a:xfrm>
          <a:ln/>
        </p:spPr>
      </p:sp>
      <p:sp>
        <p:nvSpPr>
          <p:cNvPr id="3" name="Notes Placeholder 2"/>
          <p:cNvSpPr>
            <a:spLocks noGrp="1"/>
          </p:cNvSpPr>
          <p:nvPr>
            <p:ph type="body" idx="1"/>
          </p:nvPr>
        </p:nvSpPr>
        <p:spPr/>
        <p:txBody>
          <a:bodyPr>
            <a:normAutofit/>
          </a:bodyPr>
          <a:lstStyle/>
          <a:p>
            <a:endParaRPr lang="ru-RU" dirty="0"/>
          </a:p>
        </p:txBody>
      </p:sp>
      <p:sp>
        <p:nvSpPr>
          <p:cNvPr id="97284" name="Slide Number Placeholder 3"/>
          <p:cNvSpPr>
            <a:spLocks noGrp="1"/>
          </p:cNvSpPr>
          <p:nvPr>
            <p:ph type="sldNum" sz="quarter" idx="5"/>
          </p:nvPr>
        </p:nvSpPr>
        <p:spPr>
          <a:noFill/>
        </p:spPr>
        <p:txBody>
          <a:bodyPr/>
          <a:lstStyle/>
          <a:p>
            <a:fld id="{67E848BB-E633-492B-975B-01032BAECF57}" type="slidenum">
              <a:rPr lang="ru-RU">
                <a:solidFill>
                  <a:prstClr val="black"/>
                </a:solidFill>
                <a:cs typeface="Arial" pitchFamily="34" charset="0"/>
              </a:rPr>
              <a:pPr/>
              <a:t>5</a:t>
            </a:fld>
            <a:endParaRPr lang="ru-RU">
              <a:solidFill>
                <a:prstClr val="black"/>
              </a:solidFill>
              <a:cs typeface="Arial" pitchFamily="34" charset="0"/>
            </a:endParaRPr>
          </a:p>
        </p:txBody>
      </p:sp>
      <p:sp>
        <p:nvSpPr>
          <p:cNvPr id="2" name="Нижний колонтитул 1"/>
          <p:cNvSpPr>
            <a:spLocks noGrp="1"/>
          </p:cNvSpPr>
          <p:nvPr>
            <p:ph type="ftr" sz="quarter" idx="10"/>
          </p:nvPr>
        </p:nvSpPr>
        <p:spPr/>
        <p:txBody>
          <a:bodyPr/>
          <a:lstStyle/>
          <a:p>
            <a:endParaRPr lang="ru-RU" dirty="0"/>
          </a:p>
        </p:txBody>
      </p:sp>
    </p:spTree>
    <p:extLst>
      <p:ext uri="{BB962C8B-B14F-4D97-AF65-F5344CB8AC3E}">
        <p14:creationId xmlns:p14="http://schemas.microsoft.com/office/powerpoint/2010/main" val="21607452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GB" dirty="0"/>
          </a:p>
        </p:txBody>
      </p:sp>
      <p:sp>
        <p:nvSpPr>
          <p:cNvPr id="4" name="Номер слайда 3"/>
          <p:cNvSpPr>
            <a:spLocks noGrp="1"/>
          </p:cNvSpPr>
          <p:nvPr>
            <p:ph type="sldNum" sz="quarter" idx="5"/>
          </p:nvPr>
        </p:nvSpPr>
        <p:spPr/>
        <p:txBody>
          <a:bodyPr/>
          <a:lstStyle/>
          <a:p>
            <a:fld id="{9760C1C1-BC8F-4913-8DB0-3A0FA480878F}" type="slidenum">
              <a:rPr lang="ru-RU" smtClean="0"/>
              <a:pPr/>
              <a:t>6</a:t>
            </a:fld>
            <a:endParaRPr lang="ru-RU" dirty="0"/>
          </a:p>
        </p:txBody>
      </p:sp>
    </p:spTree>
    <p:extLst>
      <p:ext uri="{BB962C8B-B14F-4D97-AF65-F5344CB8AC3E}">
        <p14:creationId xmlns:p14="http://schemas.microsoft.com/office/powerpoint/2010/main" val="28904695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GB" dirty="0"/>
          </a:p>
        </p:txBody>
      </p:sp>
      <p:sp>
        <p:nvSpPr>
          <p:cNvPr id="4" name="Номер слайда 3"/>
          <p:cNvSpPr>
            <a:spLocks noGrp="1"/>
          </p:cNvSpPr>
          <p:nvPr>
            <p:ph type="sldNum" sz="quarter" idx="5"/>
          </p:nvPr>
        </p:nvSpPr>
        <p:spPr/>
        <p:txBody>
          <a:bodyPr/>
          <a:lstStyle/>
          <a:p>
            <a:fld id="{9760C1C1-BC8F-4913-8DB0-3A0FA480878F}" type="slidenum">
              <a:rPr lang="ru-RU" smtClean="0"/>
              <a:pPr/>
              <a:t>7</a:t>
            </a:fld>
            <a:endParaRPr lang="ru-RU" dirty="0"/>
          </a:p>
        </p:txBody>
      </p:sp>
    </p:spTree>
    <p:extLst>
      <p:ext uri="{BB962C8B-B14F-4D97-AF65-F5344CB8AC3E}">
        <p14:creationId xmlns:p14="http://schemas.microsoft.com/office/powerpoint/2010/main" val="42703965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17575" y="744538"/>
            <a:ext cx="4962525" cy="3722687"/>
          </a:xfrm>
        </p:spPr>
      </p:sp>
      <p:sp>
        <p:nvSpPr>
          <p:cNvPr id="3" name="Заметки 2"/>
          <p:cNvSpPr>
            <a:spLocks noGrp="1"/>
          </p:cNvSpPr>
          <p:nvPr>
            <p:ph type="body" idx="1"/>
          </p:nvPr>
        </p:nvSpPr>
        <p:spPr/>
        <p:txBody>
          <a:bodyPr/>
          <a:lstStyle/>
          <a:p>
            <a:pPr marL="0" marR="0" lvl="0" indent="0" algn="l" defTabSz="884585"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Arial" panose="020B0604020202020204" pitchFamily="34" charset="0"/>
              <a:ea typeface="+mn-ea"/>
              <a:cs typeface="+mn-cs"/>
            </a:endParaRPr>
          </a:p>
        </p:txBody>
      </p:sp>
      <p:sp>
        <p:nvSpPr>
          <p:cNvPr id="4" name="Номер слайда 3"/>
          <p:cNvSpPr>
            <a:spLocks noGrp="1"/>
          </p:cNvSpPr>
          <p:nvPr>
            <p:ph type="sldNum" sz="quarter" idx="10"/>
          </p:nvPr>
        </p:nvSpPr>
        <p:spPr/>
        <p:txBody>
          <a:bodyPr/>
          <a:lstStyle/>
          <a:p>
            <a:pPr>
              <a:defRPr/>
            </a:pPr>
            <a:fld id="{E55B68FD-745F-4C22-A5DB-FB65F0185FCA}" type="slidenum">
              <a:rPr lang="ru-RU" altLang="ru-RU" smtClean="0"/>
              <a:pPr>
                <a:defRPr/>
              </a:pPr>
              <a:t>8</a:t>
            </a:fld>
            <a:endParaRPr lang="ru-RU" altLang="ru-RU"/>
          </a:p>
        </p:txBody>
      </p:sp>
    </p:spTree>
    <p:extLst>
      <p:ext uri="{BB962C8B-B14F-4D97-AF65-F5344CB8AC3E}">
        <p14:creationId xmlns:p14="http://schemas.microsoft.com/office/powerpoint/2010/main" val="39131049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R_Титульный слайд">
    <p:bg>
      <p:bgRef idx="1001">
        <a:schemeClr val="bg1"/>
      </p:bgRef>
    </p:bg>
    <p:spTree>
      <p:nvGrpSpPr>
        <p:cNvPr id="1" name=""/>
        <p:cNvGrpSpPr/>
        <p:nvPr/>
      </p:nvGrpSpPr>
      <p:grpSpPr>
        <a:xfrm>
          <a:off x="0" y="0"/>
          <a:ext cx="0" cy="0"/>
          <a:chOff x="0" y="0"/>
          <a:chExt cx="0" cy="0"/>
        </a:xfrm>
      </p:grpSpPr>
      <p:pic>
        <p:nvPicPr>
          <p:cNvPr id="9" name="Рисунок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0661" y="343611"/>
            <a:ext cx="1100330" cy="1408179"/>
          </a:xfrm>
          <a:prstGeom prst="rect">
            <a:avLst/>
          </a:prstGeom>
        </p:spPr>
      </p:pic>
      <p:sp>
        <p:nvSpPr>
          <p:cNvPr id="3074" name="Rectangle 2"/>
          <p:cNvSpPr>
            <a:spLocks noGrp="1" noChangeArrowheads="1"/>
          </p:cNvSpPr>
          <p:nvPr>
            <p:ph type="ctrTitle"/>
          </p:nvPr>
        </p:nvSpPr>
        <p:spPr>
          <a:xfrm>
            <a:off x="756096" y="2397233"/>
            <a:ext cx="8280400" cy="1031875"/>
          </a:xfrm>
          <a:ln/>
        </p:spPr>
        <p:txBody>
          <a:bodyPr/>
          <a:lstStyle>
            <a:lvl1pPr>
              <a:lnSpc>
                <a:spcPct val="130000"/>
              </a:lnSpc>
              <a:defRPr sz="2400">
                <a:solidFill>
                  <a:schemeClr val="tx2"/>
                </a:solidFill>
              </a:defRPr>
            </a:lvl1pPr>
          </a:lstStyle>
          <a:p>
            <a:r>
              <a:rPr lang="ru-RU" dirty="0"/>
              <a:t>Образец заголовка</a:t>
            </a:r>
          </a:p>
        </p:txBody>
      </p:sp>
      <p:sp>
        <p:nvSpPr>
          <p:cNvPr id="3075" name="Rectangle 3"/>
          <p:cNvSpPr>
            <a:spLocks noGrp="1" noChangeArrowheads="1"/>
          </p:cNvSpPr>
          <p:nvPr>
            <p:ph type="subTitle" idx="1"/>
          </p:nvPr>
        </p:nvSpPr>
        <p:spPr>
          <a:xfrm>
            <a:off x="756096" y="3499793"/>
            <a:ext cx="3743325" cy="649287"/>
          </a:xfrm>
          <a:prstGeom prst="rect">
            <a:avLst/>
          </a:prstGeom>
          <a:ln/>
        </p:spPr>
        <p:txBody>
          <a:bodyPr lIns="0" anchor="ctr"/>
          <a:lstStyle>
            <a:lvl1pPr marL="0" indent="0">
              <a:buFontTx/>
              <a:buNone/>
              <a:defRPr sz="1400" b="1">
                <a:solidFill>
                  <a:schemeClr val="bg2"/>
                </a:solidFill>
              </a:defRPr>
            </a:lvl1pPr>
          </a:lstStyle>
          <a:p>
            <a:r>
              <a:rPr lang="ru-RU" dirty="0"/>
              <a:t>Образец подзаголовка</a:t>
            </a:r>
          </a:p>
        </p:txBody>
      </p:sp>
      <p:sp>
        <p:nvSpPr>
          <p:cNvPr id="5" name="Прямоугольник 4"/>
          <p:cNvSpPr/>
          <p:nvPr userDrawn="1"/>
        </p:nvSpPr>
        <p:spPr>
          <a:xfrm>
            <a:off x="2123728" y="1583070"/>
            <a:ext cx="7020272" cy="184666"/>
          </a:xfrm>
          <a:prstGeom prst="rect">
            <a:avLst/>
          </a:prstGeom>
          <a:gradFill flip="none" rotWithShape="1">
            <a:gsLst>
              <a:gs pos="0">
                <a:schemeClr val="tx2"/>
              </a:gs>
              <a:gs pos="100000">
                <a:schemeClr val="accent1"/>
              </a:gs>
            </a:gsLst>
            <a:lin ang="0" scaled="1"/>
            <a:tileRect/>
          </a:gradFill>
        </p:spPr>
        <p:txBody>
          <a:bodyPr wrap="square" lIns="67740" tIns="0" rIns="67740" bIns="0" anchor="ctr" anchorCtr="0">
            <a:noAutofit/>
          </a:bodyPr>
          <a:lstStyle/>
          <a:p>
            <a:r>
              <a:rPr lang="en-US" sz="1000" b="0" kern="0" cap="all" baseline="0" dirty="0">
                <a:solidFill>
                  <a:srgbClr val="FFFFFF"/>
                </a:solidFill>
                <a:cs typeface="Arial"/>
                <a:sym typeface="Arial"/>
              </a:rPr>
              <a:t>The State Atomic Energy Corporation ROSATOM</a:t>
            </a:r>
            <a:endParaRPr lang="ru-RU" sz="1000" b="0" kern="0" cap="all" baseline="0" dirty="0">
              <a:solidFill>
                <a:srgbClr val="FFFFFF"/>
              </a:solidFill>
              <a:cs typeface="Arial"/>
              <a:sym typeface="Arial"/>
            </a:endParaRPr>
          </a:p>
        </p:txBody>
      </p:sp>
      <p:sp>
        <p:nvSpPr>
          <p:cNvPr id="7" name="Rectangle 2"/>
          <p:cNvSpPr>
            <a:spLocks noGrp="1" noChangeArrowheads="1"/>
          </p:cNvSpPr>
          <p:nvPr>
            <p:ph type="sldNum" sz="quarter" idx="4"/>
          </p:nvPr>
        </p:nvSpPr>
        <p:spPr bwMode="auto">
          <a:xfrm>
            <a:off x="8260624" y="6448967"/>
            <a:ext cx="627185"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1800" b="1">
                <a:solidFill>
                  <a:schemeClr val="tx2"/>
                </a:solidFill>
                <a:latin typeface="Arial" pitchFamily="34" charset="0"/>
                <a:cs typeface="Arial" pitchFamily="34" charset="0"/>
              </a:defRPr>
            </a:lvl1pPr>
          </a:lstStyle>
          <a:p>
            <a:pPr defTabSz="889301" fontAlgn="base">
              <a:spcBef>
                <a:spcPct val="0"/>
              </a:spcBef>
              <a:spcAft>
                <a:spcPct val="0"/>
              </a:spcAft>
              <a:defRPr/>
            </a:pPr>
            <a:fld id="{671F52DB-673C-4812-A1B7-CAD3549D9649}" type="slidenum">
              <a:rPr lang="ru-RU" smtClean="0">
                <a:sym typeface="Arial"/>
              </a:rPr>
              <a:pPr defTabSz="889301" fontAlgn="base">
                <a:spcBef>
                  <a:spcPct val="0"/>
                </a:spcBef>
                <a:spcAft>
                  <a:spcPct val="0"/>
                </a:spcAft>
                <a:defRPr/>
              </a:pPr>
              <a:t>‹#›</a:t>
            </a:fld>
            <a:endParaRPr lang="ru-RU" dirty="0">
              <a:sym typeface="Arial"/>
            </a:endParaRPr>
          </a:p>
        </p:txBody>
      </p:sp>
      <p:pic>
        <p:nvPicPr>
          <p:cNvPr id="8" name="Рисунок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25610" y="4337299"/>
            <a:ext cx="6818390" cy="2520701"/>
          </a:xfrm>
          <a:prstGeom prst="rect">
            <a:avLst/>
          </a:prstGeom>
        </p:spPr>
      </p:pic>
    </p:spTree>
    <p:extLst>
      <p:ext uri="{BB962C8B-B14F-4D97-AF65-F5344CB8AC3E}">
        <p14:creationId xmlns:p14="http://schemas.microsoft.com/office/powerpoint/2010/main" val="21793797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R_Титульный слайд_Раздел">
    <p:bg>
      <p:bgRef idx="1001">
        <a:schemeClr val="bg1"/>
      </p:bgRef>
    </p:bg>
    <p:spTree>
      <p:nvGrpSpPr>
        <p:cNvPr id="1" name=""/>
        <p:cNvGrpSpPr/>
        <p:nvPr/>
      </p:nvGrpSpPr>
      <p:grpSpPr>
        <a:xfrm>
          <a:off x="0" y="0"/>
          <a:ext cx="0" cy="0"/>
          <a:chOff x="0" y="0"/>
          <a:chExt cx="0" cy="0"/>
        </a:xfrm>
      </p:grpSpPr>
      <p:sp>
        <p:nvSpPr>
          <p:cNvPr id="3074" name="Rectangle 2"/>
          <p:cNvSpPr>
            <a:spLocks noGrp="1" noChangeArrowheads="1"/>
          </p:cNvSpPr>
          <p:nvPr>
            <p:ph type="ctrTitle" hasCustomPrompt="1"/>
          </p:nvPr>
        </p:nvSpPr>
        <p:spPr>
          <a:xfrm>
            <a:off x="756096" y="2397233"/>
            <a:ext cx="8280400" cy="1031875"/>
          </a:xfrm>
          <a:ln/>
        </p:spPr>
        <p:txBody>
          <a:bodyPr/>
          <a:lstStyle>
            <a:lvl1pPr>
              <a:lnSpc>
                <a:spcPct val="130000"/>
              </a:lnSpc>
              <a:defRPr sz="2400" b="0" cap="all" baseline="0">
                <a:solidFill>
                  <a:schemeClr val="bg2"/>
                </a:solidFill>
              </a:defRPr>
            </a:lvl1pPr>
          </a:lstStyle>
          <a:p>
            <a:r>
              <a:rPr lang="ru-RU" dirty="0"/>
              <a:t>Образец заголовка</a:t>
            </a:r>
            <a:r>
              <a:rPr lang="en-US" dirty="0"/>
              <a:t> </a:t>
            </a:r>
            <a:r>
              <a:rPr lang="ru-RU" dirty="0"/>
              <a:t>раздела</a:t>
            </a:r>
          </a:p>
        </p:txBody>
      </p:sp>
      <p:sp>
        <p:nvSpPr>
          <p:cNvPr id="7" name="Rectangle 2"/>
          <p:cNvSpPr>
            <a:spLocks noGrp="1" noChangeArrowheads="1"/>
          </p:cNvSpPr>
          <p:nvPr>
            <p:ph type="sldNum" sz="quarter" idx="4"/>
          </p:nvPr>
        </p:nvSpPr>
        <p:spPr bwMode="auto">
          <a:xfrm>
            <a:off x="8260624" y="6448967"/>
            <a:ext cx="627185"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1800" b="1">
                <a:solidFill>
                  <a:schemeClr val="tx2"/>
                </a:solidFill>
                <a:latin typeface="Arial" pitchFamily="34" charset="0"/>
                <a:cs typeface="Arial" pitchFamily="34" charset="0"/>
              </a:defRPr>
            </a:lvl1pPr>
          </a:lstStyle>
          <a:p>
            <a:pPr defTabSz="889301" fontAlgn="base">
              <a:spcBef>
                <a:spcPct val="0"/>
              </a:spcBef>
              <a:spcAft>
                <a:spcPct val="0"/>
              </a:spcAft>
              <a:defRPr/>
            </a:pPr>
            <a:fld id="{671F52DB-673C-4812-A1B7-CAD3549D9649}" type="slidenum">
              <a:rPr lang="ru-RU" smtClean="0">
                <a:sym typeface="Arial"/>
              </a:rPr>
              <a:pPr defTabSz="889301" fontAlgn="base">
                <a:spcBef>
                  <a:spcPct val="0"/>
                </a:spcBef>
                <a:spcAft>
                  <a:spcPct val="0"/>
                </a:spcAft>
                <a:defRPr/>
              </a:pPr>
              <a:t>‹#›</a:t>
            </a:fld>
            <a:endParaRPr lang="ru-RU" dirty="0">
              <a:sym typeface="Arial"/>
            </a:endParaRPr>
          </a:p>
        </p:txBody>
      </p:sp>
      <p:pic>
        <p:nvPicPr>
          <p:cNvPr id="8" name="Рисунок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25610" y="4337299"/>
            <a:ext cx="6818390" cy="2520701"/>
          </a:xfrm>
          <a:prstGeom prst="rect">
            <a:avLst/>
          </a:prstGeom>
        </p:spPr>
      </p:pic>
      <p:pic>
        <p:nvPicPr>
          <p:cNvPr id="9" name="Рисунок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0661" y="343611"/>
            <a:ext cx="1100330" cy="1408179"/>
          </a:xfrm>
          <a:prstGeom prst="rect">
            <a:avLst/>
          </a:prstGeom>
        </p:spPr>
      </p:pic>
    </p:spTree>
    <p:extLst>
      <p:ext uri="{BB962C8B-B14F-4D97-AF65-F5344CB8AC3E}">
        <p14:creationId xmlns:p14="http://schemas.microsoft.com/office/powerpoint/2010/main" val="42770286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_Заголовок+сноска">
    <p:spTree>
      <p:nvGrpSpPr>
        <p:cNvPr id="1" name=""/>
        <p:cNvGrpSpPr/>
        <p:nvPr/>
      </p:nvGrpSpPr>
      <p:grpSpPr>
        <a:xfrm>
          <a:off x="0" y="0"/>
          <a:ext cx="0" cy="0"/>
          <a:chOff x="0" y="0"/>
          <a:chExt cx="0" cy="0"/>
        </a:xfrm>
      </p:grpSpPr>
      <p:sp>
        <p:nvSpPr>
          <p:cNvPr id="6" name="Rectangle 2"/>
          <p:cNvSpPr>
            <a:spLocks noGrp="1" noChangeArrowheads="1"/>
          </p:cNvSpPr>
          <p:nvPr>
            <p:ph type="sldNum" sz="quarter" idx="4"/>
          </p:nvPr>
        </p:nvSpPr>
        <p:spPr bwMode="auto">
          <a:xfrm>
            <a:off x="8260624" y="6448967"/>
            <a:ext cx="627185"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1800" b="1">
                <a:solidFill>
                  <a:schemeClr val="tx2"/>
                </a:solidFill>
                <a:latin typeface="Arial" pitchFamily="34" charset="0"/>
                <a:cs typeface="Arial" pitchFamily="34" charset="0"/>
              </a:defRPr>
            </a:lvl1pPr>
          </a:lstStyle>
          <a:p>
            <a:pPr defTabSz="889301" fontAlgn="base">
              <a:spcBef>
                <a:spcPct val="0"/>
              </a:spcBef>
              <a:spcAft>
                <a:spcPct val="0"/>
              </a:spcAft>
              <a:defRPr/>
            </a:pPr>
            <a:fld id="{671F52DB-673C-4812-A1B7-CAD3549D9649}" type="slidenum">
              <a:rPr lang="ru-RU" smtClean="0">
                <a:sym typeface="Arial"/>
              </a:rPr>
              <a:pPr defTabSz="889301" fontAlgn="base">
                <a:spcBef>
                  <a:spcPct val="0"/>
                </a:spcBef>
                <a:spcAft>
                  <a:spcPct val="0"/>
                </a:spcAft>
                <a:defRPr/>
              </a:pPr>
              <a:t>‹#›</a:t>
            </a:fld>
            <a:endParaRPr lang="ru-RU" dirty="0">
              <a:sym typeface="Arial"/>
            </a:endParaRPr>
          </a:p>
        </p:txBody>
      </p:sp>
      <p:sp>
        <p:nvSpPr>
          <p:cNvPr id="7" name="Заголовок 1"/>
          <p:cNvSpPr>
            <a:spLocks noGrp="1"/>
          </p:cNvSpPr>
          <p:nvPr>
            <p:ph type="title"/>
          </p:nvPr>
        </p:nvSpPr>
        <p:spPr>
          <a:xfrm>
            <a:off x="468923" y="3"/>
            <a:ext cx="7631723" cy="962025"/>
          </a:xfrm>
        </p:spPr>
        <p:txBody>
          <a:bodyPr/>
          <a:lstStyle>
            <a:lvl1pPr>
              <a:defRPr>
                <a:solidFill>
                  <a:schemeClr val="tx2"/>
                </a:solidFill>
              </a:defRPr>
            </a:lvl1pPr>
          </a:lstStyle>
          <a:p>
            <a:r>
              <a:rPr lang="ru-RU" dirty="0"/>
              <a:t>Образец заголовка</a:t>
            </a:r>
          </a:p>
        </p:txBody>
      </p:sp>
      <p:sp>
        <p:nvSpPr>
          <p:cNvPr id="5" name="Прямоугольник 4"/>
          <p:cNvSpPr/>
          <p:nvPr userDrawn="1"/>
        </p:nvSpPr>
        <p:spPr>
          <a:xfrm>
            <a:off x="468923" y="6422160"/>
            <a:ext cx="7654571" cy="435839"/>
          </a:xfrm>
          <a:prstGeom prst="rect">
            <a:avLst/>
          </a:prstGeom>
        </p:spPr>
        <p:txBody>
          <a:bodyPr wrap="square" lIns="0" tIns="0" bIns="0" anchor="ctr" anchorCtr="0">
            <a:noAutofit/>
          </a:bodyPr>
          <a:lstStyle/>
          <a:p>
            <a:pPr lvl="0">
              <a:lnSpc>
                <a:spcPct val="90000"/>
              </a:lnSpc>
            </a:pPr>
            <a:r>
              <a:rPr lang="en-US" sz="800" i="1" dirty="0">
                <a:solidFill>
                  <a:schemeClr val="bg1">
                    <a:lumMod val="50000"/>
                  </a:schemeClr>
                </a:solidFill>
              </a:rPr>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p>
        </p:txBody>
      </p:sp>
    </p:spTree>
    <p:extLst>
      <p:ext uri="{BB962C8B-B14F-4D97-AF65-F5344CB8AC3E}">
        <p14:creationId xmlns:p14="http://schemas.microsoft.com/office/powerpoint/2010/main" val="36618269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_Заголовок">
    <p:spTree>
      <p:nvGrpSpPr>
        <p:cNvPr id="1" name=""/>
        <p:cNvGrpSpPr/>
        <p:nvPr/>
      </p:nvGrpSpPr>
      <p:grpSpPr>
        <a:xfrm>
          <a:off x="0" y="0"/>
          <a:ext cx="0" cy="0"/>
          <a:chOff x="0" y="0"/>
          <a:chExt cx="0" cy="0"/>
        </a:xfrm>
      </p:grpSpPr>
      <p:sp>
        <p:nvSpPr>
          <p:cNvPr id="6" name="Rectangle 2"/>
          <p:cNvSpPr>
            <a:spLocks noGrp="1" noChangeArrowheads="1"/>
          </p:cNvSpPr>
          <p:nvPr>
            <p:ph type="sldNum" sz="quarter" idx="4"/>
          </p:nvPr>
        </p:nvSpPr>
        <p:spPr bwMode="auto">
          <a:xfrm>
            <a:off x="8260624" y="6448967"/>
            <a:ext cx="627185"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1800" b="1">
                <a:solidFill>
                  <a:schemeClr val="tx2"/>
                </a:solidFill>
                <a:latin typeface="Arial" pitchFamily="34" charset="0"/>
                <a:cs typeface="Arial" pitchFamily="34" charset="0"/>
              </a:defRPr>
            </a:lvl1pPr>
          </a:lstStyle>
          <a:p>
            <a:pPr defTabSz="889301" fontAlgn="base">
              <a:spcBef>
                <a:spcPct val="0"/>
              </a:spcBef>
              <a:spcAft>
                <a:spcPct val="0"/>
              </a:spcAft>
              <a:defRPr/>
            </a:pPr>
            <a:fld id="{671F52DB-673C-4812-A1B7-CAD3549D9649}" type="slidenum">
              <a:rPr lang="ru-RU" smtClean="0">
                <a:sym typeface="Arial"/>
              </a:rPr>
              <a:pPr defTabSz="889301" fontAlgn="base">
                <a:spcBef>
                  <a:spcPct val="0"/>
                </a:spcBef>
                <a:spcAft>
                  <a:spcPct val="0"/>
                </a:spcAft>
                <a:defRPr/>
              </a:pPr>
              <a:t>‹#›</a:t>
            </a:fld>
            <a:endParaRPr lang="ru-RU" dirty="0">
              <a:sym typeface="Arial"/>
            </a:endParaRPr>
          </a:p>
        </p:txBody>
      </p:sp>
      <p:sp>
        <p:nvSpPr>
          <p:cNvPr id="7" name="Заголовок 1"/>
          <p:cNvSpPr>
            <a:spLocks noGrp="1"/>
          </p:cNvSpPr>
          <p:nvPr>
            <p:ph type="title"/>
          </p:nvPr>
        </p:nvSpPr>
        <p:spPr>
          <a:xfrm>
            <a:off x="468923" y="3"/>
            <a:ext cx="7631723" cy="962025"/>
          </a:xfrm>
        </p:spPr>
        <p:txBody>
          <a:bodyPr/>
          <a:lstStyle>
            <a:lvl1pPr>
              <a:defRPr>
                <a:solidFill>
                  <a:schemeClr val="tx2"/>
                </a:solidFill>
              </a:defRPr>
            </a:lvl1pPr>
          </a:lstStyle>
          <a:p>
            <a:r>
              <a:rPr lang="ru-RU" dirty="0"/>
              <a:t>Образец заголовка</a:t>
            </a:r>
          </a:p>
        </p:txBody>
      </p:sp>
    </p:spTree>
    <p:extLst>
      <p:ext uri="{BB962C8B-B14F-4D97-AF65-F5344CB8AC3E}">
        <p14:creationId xmlns:p14="http://schemas.microsoft.com/office/powerpoint/2010/main" val="2035303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R_Заголовок+иконка+сноск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59632" y="3"/>
            <a:ext cx="6841014" cy="962025"/>
          </a:xfrm>
        </p:spPr>
        <p:txBody>
          <a:bodyPr/>
          <a:lstStyle>
            <a:lvl1pPr>
              <a:defRPr>
                <a:solidFill>
                  <a:schemeClr val="tx2"/>
                </a:solidFill>
              </a:defRPr>
            </a:lvl1pPr>
          </a:lstStyle>
          <a:p>
            <a:r>
              <a:rPr lang="ru-RU" dirty="0"/>
              <a:t>Образец заголовка</a:t>
            </a:r>
          </a:p>
        </p:txBody>
      </p:sp>
      <p:sp>
        <p:nvSpPr>
          <p:cNvPr id="3" name="Rectangle 2"/>
          <p:cNvSpPr>
            <a:spLocks noGrp="1" noChangeArrowheads="1"/>
          </p:cNvSpPr>
          <p:nvPr>
            <p:ph type="sldNum" sz="quarter" idx="10"/>
          </p:nvPr>
        </p:nvSpPr>
        <p:spPr/>
        <p:txBody>
          <a:bodyPr/>
          <a:lstStyle>
            <a:lvl1pPr>
              <a:defRPr sz="1800">
                <a:solidFill>
                  <a:schemeClr val="tx2"/>
                </a:solidFill>
              </a:defRPr>
            </a:lvl1pPr>
          </a:lstStyle>
          <a:p>
            <a:pPr>
              <a:defRPr/>
            </a:pPr>
            <a:fld id="{A4A307BD-5FFE-48F6-9CBA-08436C5D8701}" type="slidenum">
              <a:rPr lang="ru-RU" smtClean="0"/>
              <a:pPr>
                <a:defRPr/>
              </a:pPr>
              <a:t>‹#›</a:t>
            </a:fld>
            <a:endParaRPr lang="ru-RU" dirty="0"/>
          </a:p>
        </p:txBody>
      </p:sp>
      <p:sp>
        <p:nvSpPr>
          <p:cNvPr id="4" name="Прямоугольник 3"/>
          <p:cNvSpPr/>
          <p:nvPr userDrawn="1"/>
        </p:nvSpPr>
        <p:spPr>
          <a:xfrm>
            <a:off x="468923" y="6422160"/>
            <a:ext cx="7654571" cy="435839"/>
          </a:xfrm>
          <a:prstGeom prst="rect">
            <a:avLst/>
          </a:prstGeom>
        </p:spPr>
        <p:txBody>
          <a:bodyPr wrap="square" lIns="0" tIns="0" bIns="0" anchor="ctr" anchorCtr="0">
            <a:noAutofit/>
          </a:bodyPr>
          <a:lstStyle/>
          <a:p>
            <a:pPr lvl="0">
              <a:lnSpc>
                <a:spcPct val="90000"/>
              </a:lnSpc>
            </a:pPr>
            <a:r>
              <a:rPr lang="en-US" sz="800" i="1" dirty="0">
                <a:solidFill>
                  <a:schemeClr val="bg1">
                    <a:lumMod val="50000"/>
                  </a:schemeClr>
                </a:solidFill>
              </a:rPr>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p>
        </p:txBody>
      </p:sp>
    </p:spTree>
    <p:extLst>
      <p:ext uri="{BB962C8B-B14F-4D97-AF65-F5344CB8AC3E}">
        <p14:creationId xmlns:p14="http://schemas.microsoft.com/office/powerpoint/2010/main" val="26573774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R_Заголовок+иконк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59632" y="3"/>
            <a:ext cx="6841014" cy="962025"/>
          </a:xfrm>
        </p:spPr>
        <p:txBody>
          <a:bodyPr/>
          <a:lstStyle>
            <a:lvl1pPr>
              <a:defRPr>
                <a:solidFill>
                  <a:schemeClr val="tx2"/>
                </a:solidFill>
              </a:defRPr>
            </a:lvl1pPr>
          </a:lstStyle>
          <a:p>
            <a:r>
              <a:rPr lang="ru-RU" dirty="0"/>
              <a:t>Образец заголовка</a:t>
            </a:r>
          </a:p>
        </p:txBody>
      </p:sp>
      <p:sp>
        <p:nvSpPr>
          <p:cNvPr id="3" name="Rectangle 2"/>
          <p:cNvSpPr>
            <a:spLocks noGrp="1" noChangeArrowheads="1"/>
          </p:cNvSpPr>
          <p:nvPr>
            <p:ph type="sldNum" sz="quarter" idx="10"/>
          </p:nvPr>
        </p:nvSpPr>
        <p:spPr/>
        <p:txBody>
          <a:bodyPr/>
          <a:lstStyle>
            <a:lvl1pPr>
              <a:defRPr sz="1800">
                <a:solidFill>
                  <a:schemeClr val="tx2"/>
                </a:solidFill>
              </a:defRPr>
            </a:lvl1pPr>
          </a:lstStyle>
          <a:p>
            <a:pPr>
              <a:defRPr/>
            </a:pPr>
            <a:fld id="{A4A307BD-5FFE-48F6-9CBA-08436C5D8701}" type="slidenum">
              <a:rPr lang="ru-RU" smtClean="0"/>
              <a:pPr>
                <a:defRPr/>
              </a:pPr>
              <a:t>‹#›</a:t>
            </a:fld>
            <a:endParaRPr lang="ru-RU" dirty="0"/>
          </a:p>
        </p:txBody>
      </p:sp>
    </p:spTree>
    <p:extLst>
      <p:ext uri="{BB962C8B-B14F-4D97-AF65-F5344CB8AC3E}">
        <p14:creationId xmlns:p14="http://schemas.microsoft.com/office/powerpoint/2010/main" val="11103797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_Заголовок+сноска">
    <p:spTree>
      <p:nvGrpSpPr>
        <p:cNvPr id="1" name=""/>
        <p:cNvGrpSpPr/>
        <p:nvPr/>
      </p:nvGrpSpPr>
      <p:grpSpPr>
        <a:xfrm>
          <a:off x="0" y="0"/>
          <a:ext cx="0" cy="0"/>
          <a:chOff x="0" y="0"/>
          <a:chExt cx="0" cy="0"/>
        </a:xfrm>
      </p:grpSpPr>
      <p:sp>
        <p:nvSpPr>
          <p:cNvPr id="8" name="Rectangle 2"/>
          <p:cNvSpPr>
            <a:spLocks noGrp="1" noChangeArrowheads="1"/>
          </p:cNvSpPr>
          <p:nvPr>
            <p:ph type="sldNum" sz="quarter" idx="4"/>
          </p:nvPr>
        </p:nvSpPr>
        <p:spPr bwMode="auto">
          <a:xfrm>
            <a:off x="8388424" y="6453336"/>
            <a:ext cx="504056" cy="343231"/>
          </a:xfrm>
          <a:prstGeom prst="rect">
            <a:avLst/>
          </a:prstGeom>
          <a:noFill/>
          <a:ln w="9525">
            <a:noFill/>
            <a:miter lim="800000"/>
            <a:headEnd/>
            <a:tailEnd/>
          </a:ln>
          <a:effectLst/>
        </p:spPr>
        <p:txBody>
          <a:bodyPr vert="horz" wrap="square" lIns="0" tIns="0" rIns="0" bIns="0" numCol="1" anchor="ctr" anchorCtr="1" compatLnSpc="1">
            <a:prstTxWarp prst="textNoShape">
              <a:avLst/>
            </a:prstTxWarp>
            <a:noAutofit/>
          </a:bodyPr>
          <a:lstStyle>
            <a:lvl1pPr algn="r">
              <a:defRPr sz="1600" b="0">
                <a:solidFill>
                  <a:schemeClr val="tx2"/>
                </a:solidFill>
                <a:latin typeface="Arial" pitchFamily="34" charset="0"/>
                <a:cs typeface="Arial" pitchFamily="34" charset="0"/>
              </a:defRPr>
            </a:lvl1pPr>
          </a:lstStyle>
          <a:p>
            <a:pPr defTabSz="889301" fontAlgn="base">
              <a:spcBef>
                <a:spcPct val="0"/>
              </a:spcBef>
              <a:spcAft>
                <a:spcPct val="0"/>
              </a:spcAft>
              <a:defRPr/>
            </a:pPr>
            <a:fld id="{671F52DB-673C-4812-A1B7-CAD3549D9649}" type="slidenum">
              <a:rPr lang="ru-RU" smtClean="0">
                <a:sym typeface="Arial"/>
              </a:rPr>
              <a:pPr defTabSz="889301" fontAlgn="base">
                <a:spcBef>
                  <a:spcPct val="0"/>
                </a:spcBef>
                <a:spcAft>
                  <a:spcPct val="0"/>
                </a:spcAft>
                <a:defRPr/>
              </a:pPr>
              <a:t>‹#›</a:t>
            </a:fld>
            <a:endParaRPr lang="ru-RU" dirty="0">
              <a:sym typeface="Arial"/>
            </a:endParaRPr>
          </a:p>
        </p:txBody>
      </p:sp>
      <p:sp>
        <p:nvSpPr>
          <p:cNvPr id="5" name="Прямоугольник 4"/>
          <p:cNvSpPr/>
          <p:nvPr userDrawn="1"/>
        </p:nvSpPr>
        <p:spPr>
          <a:xfrm>
            <a:off x="395537" y="6422160"/>
            <a:ext cx="7488832" cy="435839"/>
          </a:xfrm>
          <a:prstGeom prst="rect">
            <a:avLst/>
          </a:prstGeom>
        </p:spPr>
        <p:txBody>
          <a:bodyPr wrap="square" lIns="0" tIns="0" bIns="0" anchor="ctr" anchorCtr="0">
            <a:noAutofit/>
          </a:bodyPr>
          <a:lstStyle/>
          <a:p>
            <a:pPr lvl="0">
              <a:lnSpc>
                <a:spcPct val="90000"/>
              </a:lnSpc>
            </a:pPr>
            <a:r>
              <a:rPr lang="en-US" sz="800" i="1" dirty="0">
                <a:solidFill>
                  <a:schemeClr val="bg1">
                    <a:lumMod val="50000"/>
                  </a:schemeClr>
                </a:solidFill>
              </a:rPr>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p>
        </p:txBody>
      </p:sp>
      <p:cxnSp>
        <p:nvCxnSpPr>
          <p:cNvPr id="7" name="Straight Connector 6"/>
          <p:cNvCxnSpPr/>
          <p:nvPr userDrawn="1"/>
        </p:nvCxnSpPr>
        <p:spPr>
          <a:xfrm>
            <a:off x="395288" y="6453336"/>
            <a:ext cx="8353425" cy="0"/>
          </a:xfrm>
          <a:prstGeom prst="line">
            <a:avLst/>
          </a:prstGeom>
          <a:ln w="9525">
            <a:solidFill>
              <a:srgbClr val="025EA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107463"/>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png"/><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Рисунок 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189206" y="153525"/>
            <a:ext cx="563881" cy="722377"/>
          </a:xfrm>
          <a:prstGeom prst="rect">
            <a:avLst/>
          </a:prstGeom>
        </p:spPr>
      </p:pic>
      <p:sp>
        <p:nvSpPr>
          <p:cNvPr id="2050" name="Rectangle 2"/>
          <p:cNvSpPr>
            <a:spLocks noGrp="1" noChangeArrowheads="1"/>
          </p:cNvSpPr>
          <p:nvPr>
            <p:ph type="sldNum" sz="quarter" idx="4"/>
          </p:nvPr>
        </p:nvSpPr>
        <p:spPr bwMode="auto">
          <a:xfrm>
            <a:off x="8260624" y="6448967"/>
            <a:ext cx="627185"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1800" b="1">
                <a:solidFill>
                  <a:schemeClr val="tx2"/>
                </a:solidFill>
                <a:latin typeface="Arial" pitchFamily="34" charset="0"/>
                <a:cs typeface="Arial" pitchFamily="34" charset="0"/>
              </a:defRPr>
            </a:lvl1pPr>
          </a:lstStyle>
          <a:p>
            <a:pPr defTabSz="889301" fontAlgn="base">
              <a:spcBef>
                <a:spcPct val="0"/>
              </a:spcBef>
              <a:spcAft>
                <a:spcPct val="0"/>
              </a:spcAft>
              <a:defRPr/>
            </a:pPr>
            <a:fld id="{671F52DB-673C-4812-A1B7-CAD3549D9649}" type="slidenum">
              <a:rPr lang="ru-RU" smtClean="0">
                <a:sym typeface="Arial"/>
              </a:rPr>
              <a:pPr defTabSz="889301" fontAlgn="base">
                <a:spcBef>
                  <a:spcPct val="0"/>
                </a:spcBef>
                <a:spcAft>
                  <a:spcPct val="0"/>
                </a:spcAft>
                <a:defRPr/>
              </a:pPr>
              <a:t>‹#›</a:t>
            </a:fld>
            <a:endParaRPr lang="ru-RU" dirty="0">
              <a:sym typeface="Arial"/>
            </a:endParaRPr>
          </a:p>
        </p:txBody>
      </p:sp>
      <p:sp>
        <p:nvSpPr>
          <p:cNvPr id="23556" name="Rectangle 4"/>
          <p:cNvSpPr>
            <a:spLocks noGrp="1" noChangeArrowheads="1"/>
          </p:cNvSpPr>
          <p:nvPr>
            <p:ph type="title"/>
          </p:nvPr>
        </p:nvSpPr>
        <p:spPr bwMode="auto">
          <a:xfrm>
            <a:off x="468923" y="3"/>
            <a:ext cx="7631723"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dirty="0"/>
              <a:t>Образец заголовка</a:t>
            </a:r>
          </a:p>
        </p:txBody>
      </p:sp>
      <p:cxnSp>
        <p:nvCxnSpPr>
          <p:cNvPr id="3" name="Прямая соединительная линия 2"/>
          <p:cNvCxnSpPr/>
          <p:nvPr userDrawn="1"/>
        </p:nvCxnSpPr>
        <p:spPr>
          <a:xfrm>
            <a:off x="469676" y="6422856"/>
            <a:ext cx="842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Прямая соединительная линия 9"/>
          <p:cNvCxnSpPr/>
          <p:nvPr userDrawn="1"/>
        </p:nvCxnSpPr>
        <p:spPr>
          <a:xfrm flipV="1">
            <a:off x="8264728" y="6498000"/>
            <a:ext cx="0" cy="360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Прямая соединительная линия 8"/>
          <p:cNvCxnSpPr/>
          <p:nvPr userDrawn="1"/>
        </p:nvCxnSpPr>
        <p:spPr>
          <a:xfrm>
            <a:off x="469676" y="968853"/>
            <a:ext cx="8424000" cy="0"/>
          </a:xfrm>
          <a:prstGeom prst="line">
            <a:avLst/>
          </a:prstGeom>
          <a:ln w="31750">
            <a:gradFill flip="none" rotWithShape="1">
              <a:gsLst>
                <a:gs pos="0">
                  <a:schemeClr val="tx2"/>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848231"/>
      </p:ext>
    </p:extLst>
  </p:cSld>
  <p:clrMap bg1="lt1" tx1="dk1" bg2="lt2" tx2="dk2" accent1="accent1" accent2="accent2" accent3="accent3" accent4="accent4" accent5="accent5" accent6="accent6" hlink="hlink" folHlink="folHlink"/>
  <p:sldLayoutIdLst>
    <p:sldLayoutId id="2147483863" r:id="rId1"/>
    <p:sldLayoutId id="2147483873" r:id="rId2"/>
    <p:sldLayoutId id="2147483864" r:id="rId3"/>
    <p:sldLayoutId id="2147483875" r:id="rId4"/>
    <p:sldLayoutId id="2147483868" r:id="rId5"/>
    <p:sldLayoutId id="2147483874" r:id="rId6"/>
    <p:sldLayoutId id="2147483876" r:id="rId7"/>
  </p:sldLayoutIdLst>
  <p:transition/>
  <p:hf hdr="0" ftr="0" dt="0"/>
  <p:txStyles>
    <p:titleStyle>
      <a:lvl1pPr algn="l" rtl="0" eaLnBrk="0" fontAlgn="base" hangingPunct="0">
        <a:lnSpc>
          <a:spcPct val="90000"/>
        </a:lnSpc>
        <a:spcBef>
          <a:spcPct val="0"/>
        </a:spcBef>
        <a:spcAft>
          <a:spcPct val="0"/>
        </a:spcAft>
        <a:defRPr sz="2000" b="1">
          <a:solidFill>
            <a:schemeClr val="tx2"/>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cs typeface="Arial" charset="0"/>
        </a:defRPr>
      </a:lvl2pPr>
      <a:lvl3pPr algn="l" rtl="0" eaLnBrk="0" fontAlgn="base" hangingPunct="0">
        <a:spcBef>
          <a:spcPct val="0"/>
        </a:spcBef>
        <a:spcAft>
          <a:spcPct val="0"/>
        </a:spcAft>
        <a:defRPr sz="2000" b="1">
          <a:solidFill>
            <a:schemeClr val="hlink"/>
          </a:solidFill>
          <a:latin typeface="Arial" charset="0"/>
          <a:cs typeface="Arial" charset="0"/>
        </a:defRPr>
      </a:lvl3pPr>
      <a:lvl4pPr algn="l" rtl="0" eaLnBrk="0" fontAlgn="base" hangingPunct="0">
        <a:spcBef>
          <a:spcPct val="0"/>
        </a:spcBef>
        <a:spcAft>
          <a:spcPct val="0"/>
        </a:spcAft>
        <a:defRPr sz="2000" b="1">
          <a:solidFill>
            <a:schemeClr val="hlink"/>
          </a:solidFill>
          <a:latin typeface="Arial" charset="0"/>
          <a:cs typeface="Arial" charset="0"/>
        </a:defRPr>
      </a:lvl4pPr>
      <a:lvl5pPr algn="l" rtl="0" eaLnBrk="0" fontAlgn="base" hangingPunct="0">
        <a:spcBef>
          <a:spcPct val="0"/>
        </a:spcBef>
        <a:spcAft>
          <a:spcPct val="0"/>
        </a:spcAft>
        <a:defRPr sz="2000" b="1">
          <a:solidFill>
            <a:schemeClr val="hlink"/>
          </a:solidFill>
          <a:latin typeface="Arial" charset="0"/>
          <a:cs typeface="Arial" charset="0"/>
        </a:defRPr>
      </a:lvl5pPr>
      <a:lvl6pPr marL="443219" algn="l" rtl="0" fontAlgn="base">
        <a:spcBef>
          <a:spcPct val="0"/>
        </a:spcBef>
        <a:spcAft>
          <a:spcPct val="0"/>
        </a:spcAft>
        <a:defRPr sz="2000" b="1">
          <a:solidFill>
            <a:schemeClr val="hlink"/>
          </a:solidFill>
          <a:latin typeface="Arial" charset="0"/>
          <a:cs typeface="Arial" charset="0"/>
        </a:defRPr>
      </a:lvl6pPr>
      <a:lvl7pPr marL="886491" algn="l" rtl="0" fontAlgn="base">
        <a:spcBef>
          <a:spcPct val="0"/>
        </a:spcBef>
        <a:spcAft>
          <a:spcPct val="0"/>
        </a:spcAft>
        <a:defRPr sz="2000" b="1">
          <a:solidFill>
            <a:schemeClr val="hlink"/>
          </a:solidFill>
          <a:latin typeface="Arial" charset="0"/>
          <a:cs typeface="Arial" charset="0"/>
        </a:defRPr>
      </a:lvl7pPr>
      <a:lvl8pPr marL="1329757" algn="l" rtl="0" fontAlgn="base">
        <a:spcBef>
          <a:spcPct val="0"/>
        </a:spcBef>
        <a:spcAft>
          <a:spcPct val="0"/>
        </a:spcAft>
        <a:defRPr sz="2000" b="1">
          <a:solidFill>
            <a:schemeClr val="hlink"/>
          </a:solidFill>
          <a:latin typeface="Arial" charset="0"/>
          <a:cs typeface="Arial" charset="0"/>
        </a:defRPr>
      </a:lvl8pPr>
      <a:lvl9pPr marL="1772998" algn="l" rtl="0" fontAlgn="base">
        <a:spcBef>
          <a:spcPct val="0"/>
        </a:spcBef>
        <a:spcAft>
          <a:spcPct val="0"/>
        </a:spcAft>
        <a:defRPr sz="2000" b="1">
          <a:solidFill>
            <a:schemeClr val="hlink"/>
          </a:solidFill>
          <a:latin typeface="Arial" charset="0"/>
          <a:cs typeface="Arial" charset="0"/>
        </a:defRPr>
      </a:lvl9pPr>
    </p:titleStyle>
    <p:bodyStyle>
      <a:lvl1pPr marL="175486" indent="-175486" algn="l" rtl="0" eaLnBrk="0" fontAlgn="base" hangingPunct="0">
        <a:lnSpc>
          <a:spcPct val="110000"/>
        </a:lnSpc>
        <a:spcBef>
          <a:spcPct val="40000"/>
        </a:spcBef>
        <a:spcAft>
          <a:spcPct val="20000"/>
        </a:spcAft>
        <a:buBlip>
          <a:blip r:embed="rId10"/>
        </a:buBlip>
        <a:defRPr sz="1600">
          <a:solidFill>
            <a:schemeClr val="tx1"/>
          </a:solidFill>
          <a:latin typeface="+mn-lt"/>
          <a:ea typeface="+mn-ea"/>
          <a:cs typeface="+mn-cs"/>
        </a:defRPr>
      </a:lvl1pPr>
      <a:lvl2pPr marL="349397" indent="-172421" algn="l" rtl="0" eaLnBrk="0" fontAlgn="base" hangingPunct="0">
        <a:lnSpc>
          <a:spcPct val="110000"/>
        </a:lnSpc>
        <a:spcBef>
          <a:spcPct val="0"/>
        </a:spcBef>
        <a:spcAft>
          <a:spcPct val="20000"/>
        </a:spcAft>
        <a:buBlip>
          <a:blip r:embed="rId11"/>
        </a:buBlip>
        <a:defRPr sz="1400">
          <a:solidFill>
            <a:schemeClr val="tx1"/>
          </a:solidFill>
          <a:latin typeface="+mn-lt"/>
          <a:cs typeface="+mn-cs"/>
        </a:defRPr>
      </a:lvl2pPr>
      <a:lvl3pPr marL="1126598" indent="-260116" algn="l" rtl="0" eaLnBrk="0" fontAlgn="base" hangingPunct="0">
        <a:spcBef>
          <a:spcPct val="0"/>
        </a:spcBef>
        <a:spcAft>
          <a:spcPct val="30000"/>
        </a:spcAft>
        <a:buBlip>
          <a:blip r:embed="rId11"/>
        </a:buBlip>
        <a:defRPr sz="2200">
          <a:solidFill>
            <a:schemeClr val="tx1"/>
          </a:solidFill>
          <a:latin typeface="+mn-lt"/>
          <a:cs typeface="+mn-cs"/>
        </a:defRPr>
      </a:lvl3pPr>
      <a:lvl4pPr marL="1614475" indent="-221594" algn="l" rtl="0" eaLnBrk="0" fontAlgn="base" hangingPunct="0">
        <a:spcBef>
          <a:spcPct val="20000"/>
        </a:spcBef>
        <a:spcAft>
          <a:spcPct val="0"/>
        </a:spcAft>
        <a:buChar char="–"/>
        <a:defRPr sz="2000">
          <a:solidFill>
            <a:schemeClr val="tx1"/>
          </a:solidFill>
          <a:latin typeface="+mn-lt"/>
          <a:cs typeface="+mn-cs"/>
        </a:defRPr>
      </a:lvl4pPr>
      <a:lvl5pPr marL="2010023" indent="-221594" algn="l" rtl="0" eaLnBrk="0" fontAlgn="base" hangingPunct="0">
        <a:spcBef>
          <a:spcPct val="20000"/>
        </a:spcBef>
        <a:spcAft>
          <a:spcPct val="0"/>
        </a:spcAft>
        <a:buChar char="»"/>
        <a:defRPr sz="2000">
          <a:solidFill>
            <a:schemeClr val="tx1"/>
          </a:solidFill>
          <a:latin typeface="+mn-lt"/>
          <a:cs typeface="+mn-cs"/>
        </a:defRPr>
      </a:lvl5pPr>
      <a:lvl6pPr marL="2453261" indent="-221594" algn="l" rtl="0" fontAlgn="base">
        <a:spcBef>
          <a:spcPct val="20000"/>
        </a:spcBef>
        <a:spcAft>
          <a:spcPct val="0"/>
        </a:spcAft>
        <a:buChar char="»"/>
        <a:defRPr sz="2000">
          <a:solidFill>
            <a:schemeClr val="tx1"/>
          </a:solidFill>
          <a:latin typeface="+mn-lt"/>
          <a:cs typeface="+mn-cs"/>
        </a:defRPr>
      </a:lvl6pPr>
      <a:lvl7pPr marL="2896517" indent="-221594" algn="l" rtl="0" fontAlgn="base">
        <a:spcBef>
          <a:spcPct val="20000"/>
        </a:spcBef>
        <a:spcAft>
          <a:spcPct val="0"/>
        </a:spcAft>
        <a:buChar char="»"/>
        <a:defRPr sz="2000">
          <a:solidFill>
            <a:schemeClr val="tx1"/>
          </a:solidFill>
          <a:latin typeface="+mn-lt"/>
          <a:cs typeface="+mn-cs"/>
        </a:defRPr>
      </a:lvl7pPr>
      <a:lvl8pPr marL="3339767" indent="-221594" algn="l" rtl="0" fontAlgn="base">
        <a:spcBef>
          <a:spcPct val="20000"/>
        </a:spcBef>
        <a:spcAft>
          <a:spcPct val="0"/>
        </a:spcAft>
        <a:buChar char="»"/>
        <a:defRPr sz="2000">
          <a:solidFill>
            <a:schemeClr val="tx1"/>
          </a:solidFill>
          <a:latin typeface="+mn-lt"/>
          <a:cs typeface="+mn-cs"/>
        </a:defRPr>
      </a:lvl8pPr>
      <a:lvl9pPr marL="3783019" indent="-221594"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886491" rtl="0" eaLnBrk="1" latinLnBrk="0" hangingPunct="1">
        <a:defRPr sz="1800" kern="1200">
          <a:solidFill>
            <a:schemeClr val="tx1"/>
          </a:solidFill>
          <a:latin typeface="+mn-lt"/>
          <a:ea typeface="+mn-ea"/>
          <a:cs typeface="+mn-cs"/>
        </a:defRPr>
      </a:lvl1pPr>
      <a:lvl2pPr marL="443219" algn="l" defTabSz="886491" rtl="0" eaLnBrk="1" latinLnBrk="0" hangingPunct="1">
        <a:defRPr sz="1800" kern="1200">
          <a:solidFill>
            <a:schemeClr val="tx1"/>
          </a:solidFill>
          <a:latin typeface="+mn-lt"/>
          <a:ea typeface="+mn-ea"/>
          <a:cs typeface="+mn-cs"/>
        </a:defRPr>
      </a:lvl2pPr>
      <a:lvl3pPr marL="886491" algn="l" defTabSz="886491" rtl="0" eaLnBrk="1" latinLnBrk="0" hangingPunct="1">
        <a:defRPr sz="1800" kern="1200">
          <a:solidFill>
            <a:schemeClr val="tx1"/>
          </a:solidFill>
          <a:latin typeface="+mn-lt"/>
          <a:ea typeface="+mn-ea"/>
          <a:cs typeface="+mn-cs"/>
        </a:defRPr>
      </a:lvl3pPr>
      <a:lvl4pPr marL="1329757" algn="l" defTabSz="886491" rtl="0" eaLnBrk="1" latinLnBrk="0" hangingPunct="1">
        <a:defRPr sz="1800" kern="1200">
          <a:solidFill>
            <a:schemeClr val="tx1"/>
          </a:solidFill>
          <a:latin typeface="+mn-lt"/>
          <a:ea typeface="+mn-ea"/>
          <a:cs typeface="+mn-cs"/>
        </a:defRPr>
      </a:lvl4pPr>
      <a:lvl5pPr marL="1772998" algn="l" defTabSz="886491" rtl="0" eaLnBrk="1" latinLnBrk="0" hangingPunct="1">
        <a:defRPr sz="1800" kern="1200">
          <a:solidFill>
            <a:schemeClr val="tx1"/>
          </a:solidFill>
          <a:latin typeface="+mn-lt"/>
          <a:ea typeface="+mn-ea"/>
          <a:cs typeface="+mn-cs"/>
        </a:defRPr>
      </a:lvl5pPr>
      <a:lvl6pPr marL="2216257" algn="l" defTabSz="886491" rtl="0" eaLnBrk="1" latinLnBrk="0" hangingPunct="1">
        <a:defRPr sz="1800" kern="1200">
          <a:solidFill>
            <a:schemeClr val="tx1"/>
          </a:solidFill>
          <a:latin typeface="+mn-lt"/>
          <a:ea typeface="+mn-ea"/>
          <a:cs typeface="+mn-cs"/>
        </a:defRPr>
      </a:lvl6pPr>
      <a:lvl7pPr marL="2659507" algn="l" defTabSz="886491" rtl="0" eaLnBrk="1" latinLnBrk="0" hangingPunct="1">
        <a:defRPr sz="1800" kern="1200">
          <a:solidFill>
            <a:schemeClr val="tx1"/>
          </a:solidFill>
          <a:latin typeface="+mn-lt"/>
          <a:ea typeface="+mn-ea"/>
          <a:cs typeface="+mn-cs"/>
        </a:defRPr>
      </a:lvl7pPr>
      <a:lvl8pPr marL="3102761" algn="l" defTabSz="886491" rtl="0" eaLnBrk="1" latinLnBrk="0" hangingPunct="1">
        <a:defRPr sz="1800" kern="1200">
          <a:solidFill>
            <a:schemeClr val="tx1"/>
          </a:solidFill>
          <a:latin typeface="+mn-lt"/>
          <a:ea typeface="+mn-ea"/>
          <a:cs typeface="+mn-cs"/>
        </a:defRPr>
      </a:lvl8pPr>
      <a:lvl9pPr marL="3546003" algn="l" defTabSz="88649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4.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3.xml"/><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image" Target="../media/image6.emf"/><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oleObject" Target="../embeddings/oleObject3.bin"/><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notesSlide" Target="../notesSlides/notesSlide4.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slideLayout" Target="../slideLayouts/slideLayout3.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s>
</file>

<file path=ppt/slides/_rels/slide5.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18" Type="http://schemas.openxmlformats.org/officeDocument/2006/relationships/image" Target="../media/image20.jpeg"/><Relationship Id="rId3" Type="http://schemas.openxmlformats.org/officeDocument/2006/relationships/tags" Target="../tags/tag27.xml"/><Relationship Id="rId21" Type="http://schemas.openxmlformats.org/officeDocument/2006/relationships/image" Target="../media/image23.jpeg"/><Relationship Id="rId7" Type="http://schemas.openxmlformats.org/officeDocument/2006/relationships/image" Target="../media/image6.emf"/><Relationship Id="rId12" Type="http://schemas.openxmlformats.org/officeDocument/2006/relationships/image" Target="../media/image14.jpeg"/><Relationship Id="rId17" Type="http://schemas.openxmlformats.org/officeDocument/2006/relationships/image" Target="../media/image19.jpeg"/><Relationship Id="rId2" Type="http://schemas.openxmlformats.org/officeDocument/2006/relationships/tags" Target="../tags/tag26.xml"/><Relationship Id="rId16" Type="http://schemas.openxmlformats.org/officeDocument/2006/relationships/image" Target="../media/image18.jpeg"/><Relationship Id="rId20" Type="http://schemas.openxmlformats.org/officeDocument/2006/relationships/image" Target="../media/image22.png"/><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13.jpeg"/><Relationship Id="rId5" Type="http://schemas.openxmlformats.org/officeDocument/2006/relationships/notesSlide" Target="../notesSlides/notesSlide5.xml"/><Relationship Id="rId15" Type="http://schemas.openxmlformats.org/officeDocument/2006/relationships/image" Target="../media/image17.jpeg"/><Relationship Id="rId10" Type="http://schemas.openxmlformats.org/officeDocument/2006/relationships/image" Target="../media/image12.jpeg"/><Relationship Id="rId19" Type="http://schemas.openxmlformats.org/officeDocument/2006/relationships/image" Target="../media/image21.jpeg"/><Relationship Id="rId4" Type="http://schemas.openxmlformats.org/officeDocument/2006/relationships/slideLayout" Target="../slideLayouts/slideLayout7.xml"/><Relationship Id="rId9" Type="http://schemas.openxmlformats.org/officeDocument/2006/relationships/image" Target="../media/image11.jpeg"/><Relationship Id="rId14" Type="http://schemas.openxmlformats.org/officeDocument/2006/relationships/image" Target="../media/image16.jpeg"/></Relationships>
</file>

<file path=ppt/slides/_rels/slide6.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image" Target="../media/image24.jpeg"/><Relationship Id="rId7"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7.jpeg"/><Relationship Id="rId5" Type="http://schemas.openxmlformats.org/officeDocument/2006/relationships/image" Target="../media/image26.jpeg"/><Relationship Id="rId10" Type="http://schemas.openxmlformats.org/officeDocument/2006/relationships/image" Target="../media/image31.jpeg"/><Relationship Id="rId4" Type="http://schemas.openxmlformats.org/officeDocument/2006/relationships/image" Target="../media/image25.jpeg"/><Relationship Id="rId9" Type="http://schemas.openxmlformats.org/officeDocument/2006/relationships/image" Target="../media/image30.jpeg"/></Relationships>
</file>

<file path=ppt/slides/_rels/slide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711" name="Object 2" hidden="1"/>
          <p:cNvGraphicFramePr>
            <a:graphicFrameLocks/>
          </p:cNvGraphicFramePr>
          <p:nvPr>
            <p:custDataLst>
              <p:tags r:id="rId2"/>
            </p:custDataLst>
          </p:nvPr>
        </p:nvGraphicFramePr>
        <p:xfrm>
          <a:off x="5" y="0"/>
          <a:ext cx="146050" cy="158750"/>
        </p:xfrm>
        <a:graphic>
          <a:graphicData uri="http://schemas.openxmlformats.org/presentationml/2006/ole">
            <mc:AlternateContent xmlns:mc="http://schemas.openxmlformats.org/markup-compatibility/2006">
              <mc:Choice xmlns:v="urn:schemas-microsoft-com:vml" Requires="v">
                <p:oleObj spid="_x0000_s2289" name="think-cell Slide" r:id="rId6" imgW="360" imgH="360" progId="">
                  <p:embed/>
                </p:oleObj>
              </mc:Choice>
              <mc:Fallback>
                <p:oleObj name="think-cell Slide" r:id="rId6" imgW="360" imgH="360" progId="">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2712" name="Rectangle 3" hidden="1"/>
          <p:cNvSpPr>
            <a:spLocks noChangeArrowheads="1"/>
          </p:cNvSpPr>
          <p:nvPr>
            <p:custDataLst>
              <p:tags r:id="rId3"/>
            </p:custDataLst>
          </p:nvPr>
        </p:nvSpPr>
        <p:spPr bwMode="auto">
          <a:xfrm>
            <a:off x="5" y="0"/>
            <a:ext cx="146050" cy="158750"/>
          </a:xfrm>
          <a:prstGeom prst="rect">
            <a:avLst/>
          </a:prstGeom>
          <a:solidFill>
            <a:schemeClr val="accent1"/>
          </a:solidFill>
          <a:ln w="25400" algn="ctr">
            <a:solidFill>
              <a:srgbClr val="B35A03"/>
            </a:solidFill>
            <a:miter lim="800000"/>
            <a:headEnd/>
            <a:tailEnd/>
          </a:ln>
        </p:spPr>
        <p:txBody>
          <a:bodyPr wrap="none" lIns="0" tIns="0" rIns="0" bIns="0" anchor="ctr"/>
          <a:lstStyle/>
          <a:p>
            <a:pPr algn="ctr" defTabSz="688153"/>
            <a:endParaRPr lang="en-US" sz="1200" kern="0">
              <a:solidFill>
                <a:srgbClr val="FFFFFF"/>
              </a:solidFill>
              <a:sym typeface="Arial" pitchFamily="34" charset="0"/>
            </a:endParaRPr>
          </a:p>
        </p:txBody>
      </p:sp>
      <p:sp>
        <p:nvSpPr>
          <p:cNvPr id="4" name="Заголовок 3"/>
          <p:cNvSpPr>
            <a:spLocks noGrp="1"/>
          </p:cNvSpPr>
          <p:nvPr>
            <p:ph type="ctrTitle"/>
          </p:nvPr>
        </p:nvSpPr>
        <p:spPr/>
        <p:txBody>
          <a:bodyPr/>
          <a:lstStyle/>
          <a:p>
            <a:br>
              <a:rPr lang="en-US" dirty="0"/>
            </a:br>
            <a:r>
              <a:rPr lang="en-US" dirty="0"/>
              <a:t>Rosatom: market solutions for EU customers </a:t>
            </a:r>
            <a:br>
              <a:rPr lang="en-US" dirty="0"/>
            </a:br>
            <a:endParaRPr lang="ru-RU" dirty="0"/>
          </a:p>
        </p:txBody>
      </p:sp>
      <p:sp>
        <p:nvSpPr>
          <p:cNvPr id="3" name="Подзаголовок 2"/>
          <p:cNvSpPr>
            <a:spLocks noGrp="1"/>
          </p:cNvSpPr>
          <p:nvPr>
            <p:ph type="subTitle" idx="1"/>
          </p:nvPr>
        </p:nvSpPr>
        <p:spPr>
          <a:xfrm>
            <a:off x="756097" y="3931841"/>
            <a:ext cx="3383856" cy="937319"/>
          </a:xfrm>
        </p:spPr>
        <p:txBody>
          <a:bodyPr/>
          <a:lstStyle/>
          <a:p>
            <a:r>
              <a:rPr lang="en-US" dirty="0"/>
              <a:t>Ilya Solovyev</a:t>
            </a:r>
          </a:p>
          <a:p>
            <a:r>
              <a:rPr lang="sk-SK" b="0" dirty="0"/>
              <a:t>General Manager Central Europe, Rusatom International Network</a:t>
            </a:r>
            <a:endParaRPr lang="ru-RU" b="0" dirty="0"/>
          </a:p>
        </p:txBody>
      </p:sp>
    </p:spTree>
    <p:extLst>
      <p:ext uri="{BB962C8B-B14F-4D97-AF65-F5344CB8AC3E}">
        <p14:creationId xmlns:p14="http://schemas.microsoft.com/office/powerpoint/2010/main" val="40960479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17"/>
          <p:cNvSpPr>
            <a:spLocks/>
          </p:cNvSpPr>
          <p:nvPr/>
        </p:nvSpPr>
        <p:spPr bwMode="auto">
          <a:xfrm>
            <a:off x="468924" y="2024396"/>
            <a:ext cx="4084638" cy="1146253"/>
          </a:xfrm>
          <a:custGeom>
            <a:avLst/>
            <a:gdLst>
              <a:gd name="T0" fmla="*/ 3937000 w 2480"/>
              <a:gd name="T1" fmla="*/ 441325 h 278"/>
              <a:gd name="T2" fmla="*/ 3790950 w 2480"/>
              <a:gd name="T3" fmla="*/ 0 h 278"/>
              <a:gd name="T4" fmla="*/ 0 w 2480"/>
              <a:gd name="T5" fmla="*/ 3175 h 278"/>
              <a:gd name="T6" fmla="*/ 0 60000 65536"/>
              <a:gd name="T7" fmla="*/ 0 60000 65536"/>
              <a:gd name="T8" fmla="*/ 0 60000 65536"/>
              <a:gd name="connsiteX0" fmla="*/ 9879 w 9879"/>
              <a:gd name="connsiteY0" fmla="*/ 5948 h 5948"/>
              <a:gd name="connsiteX1" fmla="*/ 9629 w 9879"/>
              <a:gd name="connsiteY1" fmla="*/ 0 h 5948"/>
              <a:gd name="connsiteX2" fmla="*/ 0 w 9879"/>
              <a:gd name="connsiteY2" fmla="*/ 72 h 5948"/>
            </a:gdLst>
            <a:ahLst/>
            <a:cxnLst>
              <a:cxn ang="0">
                <a:pos x="connsiteX0" y="connsiteY0"/>
              </a:cxn>
              <a:cxn ang="0">
                <a:pos x="connsiteX1" y="connsiteY1"/>
              </a:cxn>
              <a:cxn ang="0">
                <a:pos x="connsiteX2" y="connsiteY2"/>
              </a:cxn>
            </a:cxnLst>
            <a:rect l="l" t="t" r="r" b="b"/>
            <a:pathLst>
              <a:path w="9879" h="5948">
                <a:moveTo>
                  <a:pt x="9879" y="5948"/>
                </a:moveTo>
                <a:cubicBezTo>
                  <a:pt x="9796" y="3965"/>
                  <a:pt x="9712" y="1983"/>
                  <a:pt x="9629" y="0"/>
                </a:cubicBezTo>
                <a:lnTo>
                  <a:pt x="0" y="72"/>
                </a:lnTo>
              </a:path>
            </a:pathLst>
          </a:custGeom>
          <a:noFill/>
          <a:ln w="19050" cap="flat" cmpd="sng">
            <a:solidFill>
              <a:schemeClr val="accent2">
                <a:lumMod val="20000"/>
                <a:lumOff val="8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fontAlgn="base">
              <a:spcBef>
                <a:spcPct val="0"/>
              </a:spcBef>
              <a:spcAft>
                <a:spcPct val="0"/>
              </a:spcAft>
              <a:defRPr/>
            </a:pPr>
            <a:endParaRPr lang="ru-RU" kern="0">
              <a:solidFill>
                <a:prstClr val="black"/>
              </a:solidFill>
            </a:endParaRPr>
          </a:p>
        </p:txBody>
      </p:sp>
      <p:sp>
        <p:nvSpPr>
          <p:cNvPr id="34" name="Freeform 17"/>
          <p:cNvSpPr>
            <a:spLocks/>
          </p:cNvSpPr>
          <p:nvPr/>
        </p:nvSpPr>
        <p:spPr bwMode="auto">
          <a:xfrm flipH="1">
            <a:off x="4892858" y="2024396"/>
            <a:ext cx="3994950" cy="1137174"/>
          </a:xfrm>
          <a:custGeom>
            <a:avLst/>
            <a:gdLst>
              <a:gd name="T0" fmla="*/ 3937000 w 2480"/>
              <a:gd name="T1" fmla="*/ 441325 h 278"/>
              <a:gd name="T2" fmla="*/ 3790950 w 2480"/>
              <a:gd name="T3" fmla="*/ 0 h 278"/>
              <a:gd name="T4" fmla="*/ 0 w 2480"/>
              <a:gd name="T5" fmla="*/ 3175 h 278"/>
              <a:gd name="T6" fmla="*/ 0 60000 65536"/>
              <a:gd name="T7" fmla="*/ 0 60000 65536"/>
              <a:gd name="T8" fmla="*/ 0 60000 65536"/>
              <a:gd name="connsiteX0" fmla="*/ 9879 w 9879"/>
              <a:gd name="connsiteY0" fmla="*/ 5948 h 5948"/>
              <a:gd name="connsiteX1" fmla="*/ 9629 w 9879"/>
              <a:gd name="connsiteY1" fmla="*/ 0 h 5948"/>
              <a:gd name="connsiteX2" fmla="*/ 0 w 9879"/>
              <a:gd name="connsiteY2" fmla="*/ 72 h 5948"/>
            </a:gdLst>
            <a:ahLst/>
            <a:cxnLst>
              <a:cxn ang="0">
                <a:pos x="connsiteX0" y="connsiteY0"/>
              </a:cxn>
              <a:cxn ang="0">
                <a:pos x="connsiteX1" y="connsiteY1"/>
              </a:cxn>
              <a:cxn ang="0">
                <a:pos x="connsiteX2" y="connsiteY2"/>
              </a:cxn>
            </a:cxnLst>
            <a:rect l="l" t="t" r="r" b="b"/>
            <a:pathLst>
              <a:path w="9879" h="5948">
                <a:moveTo>
                  <a:pt x="9879" y="5948"/>
                </a:moveTo>
                <a:cubicBezTo>
                  <a:pt x="9796" y="3965"/>
                  <a:pt x="9712" y="1983"/>
                  <a:pt x="9629" y="0"/>
                </a:cubicBezTo>
                <a:lnTo>
                  <a:pt x="0" y="72"/>
                </a:lnTo>
              </a:path>
            </a:pathLst>
          </a:custGeom>
          <a:noFill/>
          <a:ln w="19050" cap="flat" cmpd="sng">
            <a:solidFill>
              <a:schemeClr val="accent2">
                <a:lumMod val="20000"/>
                <a:lumOff val="8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fontAlgn="base">
              <a:spcBef>
                <a:spcPct val="0"/>
              </a:spcBef>
              <a:spcAft>
                <a:spcPct val="0"/>
              </a:spcAft>
              <a:defRPr/>
            </a:pPr>
            <a:endParaRPr lang="ru-RU" kern="0">
              <a:solidFill>
                <a:prstClr val="black"/>
              </a:solidFill>
            </a:endParaRPr>
          </a:p>
        </p:txBody>
      </p:sp>
      <p:cxnSp>
        <p:nvCxnSpPr>
          <p:cNvPr id="17" name="Прямая соединительная линия 16"/>
          <p:cNvCxnSpPr/>
          <p:nvPr/>
        </p:nvCxnSpPr>
        <p:spPr bwMode="auto">
          <a:xfrm>
            <a:off x="569308" y="4077072"/>
            <a:ext cx="3098868" cy="0"/>
          </a:xfrm>
          <a:prstGeom prst="line">
            <a:avLst/>
          </a:prstGeom>
          <a:noFill/>
          <a:ln w="19050" cap="flat" cmpd="sng">
            <a:solidFill>
              <a:schemeClr val="accent2">
                <a:lumMod val="20000"/>
                <a:lumOff val="8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Прямая соединительная линия 17"/>
          <p:cNvCxnSpPr/>
          <p:nvPr/>
        </p:nvCxnSpPr>
        <p:spPr bwMode="auto">
          <a:xfrm>
            <a:off x="5681772" y="4077072"/>
            <a:ext cx="3098868" cy="0"/>
          </a:xfrm>
          <a:prstGeom prst="line">
            <a:avLst/>
          </a:prstGeom>
          <a:noFill/>
          <a:ln w="19050" cap="flat" cmpd="sng">
            <a:solidFill>
              <a:schemeClr val="accent2">
                <a:lumMod val="20000"/>
                <a:lumOff val="8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Прямая соединительная линия 19"/>
          <p:cNvCxnSpPr/>
          <p:nvPr/>
        </p:nvCxnSpPr>
        <p:spPr bwMode="auto">
          <a:xfrm>
            <a:off x="4778670" y="5024629"/>
            <a:ext cx="0" cy="486593"/>
          </a:xfrm>
          <a:prstGeom prst="line">
            <a:avLst/>
          </a:prstGeom>
          <a:noFill/>
          <a:ln w="19050" cap="flat" cmpd="sng">
            <a:solidFill>
              <a:schemeClr val="accent2">
                <a:lumMod val="20000"/>
                <a:lumOff val="8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6" name="Овал 65"/>
          <p:cNvSpPr/>
          <p:nvPr/>
        </p:nvSpPr>
        <p:spPr>
          <a:xfrm>
            <a:off x="3715734" y="2938927"/>
            <a:ext cx="2117722" cy="2117722"/>
          </a:xfrm>
          <a:prstGeom prst="ellipse">
            <a:avLst/>
          </a:prstGeom>
          <a:solidFill>
            <a:schemeClr val="bg1"/>
          </a:solidFill>
          <a:ln w="1270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2" name="Номер слайда 1"/>
          <p:cNvSpPr>
            <a:spLocks noGrp="1"/>
          </p:cNvSpPr>
          <p:nvPr>
            <p:ph type="sldNum" sz="quarter" idx="4"/>
          </p:nvPr>
        </p:nvSpPr>
        <p:spPr/>
        <p:txBody>
          <a:bodyPr/>
          <a:lstStyle/>
          <a:p>
            <a:pPr defTabSz="889301" fontAlgn="base">
              <a:spcBef>
                <a:spcPct val="0"/>
              </a:spcBef>
              <a:spcAft>
                <a:spcPct val="0"/>
              </a:spcAft>
              <a:defRPr/>
            </a:pPr>
            <a:fld id="{671F52DB-673C-4812-A1B7-CAD3549D9649}" type="slidenum">
              <a:rPr lang="ru-RU" smtClean="0">
                <a:solidFill>
                  <a:srgbClr val="003274"/>
                </a:solidFill>
                <a:sym typeface="Arial"/>
              </a:rPr>
              <a:pPr defTabSz="889301" fontAlgn="base">
                <a:spcBef>
                  <a:spcPct val="0"/>
                </a:spcBef>
                <a:spcAft>
                  <a:spcPct val="0"/>
                </a:spcAft>
                <a:defRPr/>
              </a:pPr>
              <a:t>2</a:t>
            </a:fld>
            <a:endParaRPr lang="ru-RU" dirty="0">
              <a:solidFill>
                <a:srgbClr val="003274"/>
              </a:solidFill>
              <a:sym typeface="Arial"/>
            </a:endParaRPr>
          </a:p>
        </p:txBody>
      </p:sp>
      <p:sp>
        <p:nvSpPr>
          <p:cNvPr id="3" name="Заголовок 2"/>
          <p:cNvSpPr>
            <a:spLocks noGrp="1"/>
          </p:cNvSpPr>
          <p:nvPr>
            <p:ph type="title"/>
          </p:nvPr>
        </p:nvSpPr>
        <p:spPr/>
        <p:txBody>
          <a:bodyPr/>
          <a:lstStyle/>
          <a:p>
            <a:r>
              <a:rPr lang="en-US" dirty="0"/>
              <a:t>ROSATOM: Energy Major with Global Outreach</a:t>
            </a:r>
          </a:p>
        </p:txBody>
      </p:sp>
      <p:sp>
        <p:nvSpPr>
          <p:cNvPr id="4" name="TextBox 3"/>
          <p:cNvSpPr txBox="1"/>
          <p:nvPr/>
        </p:nvSpPr>
        <p:spPr>
          <a:xfrm flipH="1">
            <a:off x="1057412" y="1395971"/>
            <a:ext cx="3378956" cy="463235"/>
          </a:xfrm>
          <a:prstGeom prst="rect">
            <a:avLst/>
          </a:prstGeom>
          <a:noFill/>
        </p:spPr>
        <p:txBody>
          <a:bodyPr wrap="square" lIns="91430" tIns="45716" rIns="91430" bIns="45716" rtlCol="0" anchor="ctr" anchorCtr="0">
            <a:noAutofit/>
          </a:bodyPr>
          <a:lstStyle>
            <a:defPPr>
              <a:defRPr lang="ru-RU"/>
            </a:defPPr>
            <a:lvl1pPr defTabSz="914400" fontAlgn="base">
              <a:spcBef>
                <a:spcPct val="0"/>
              </a:spcBef>
              <a:spcAft>
                <a:spcPts val="600"/>
              </a:spcAft>
              <a:defRPr sz="5400">
                <a:solidFill>
                  <a:srgbClr val="0070C0"/>
                </a:solidFill>
                <a:latin typeface="Agency FB" panose="020B0503020202020204" pitchFamily="34" charset="0"/>
              </a:defRPr>
            </a:lvl1pPr>
          </a:lstStyle>
          <a:p>
            <a:r>
              <a:rPr lang="ru-RU" dirty="0">
                <a:solidFill>
                  <a:srgbClr val="003274"/>
                </a:solidFill>
                <a:latin typeface="Arial" panose="020B0604020202020204" pitchFamily="34" charset="0"/>
              </a:rPr>
              <a:t>30.1</a:t>
            </a:r>
            <a:r>
              <a:rPr lang="en-US" sz="3200" dirty="0">
                <a:solidFill>
                  <a:srgbClr val="003274"/>
                </a:solidFill>
                <a:latin typeface="Arial" panose="020B0604020202020204" pitchFamily="34" charset="0"/>
              </a:rPr>
              <a:t> </a:t>
            </a:r>
            <a:r>
              <a:rPr lang="en-US" sz="3200" dirty="0">
                <a:solidFill>
                  <a:srgbClr val="4596D1"/>
                </a:solidFill>
                <a:latin typeface="Arial" panose="020B0604020202020204" pitchFamily="34" charset="0"/>
              </a:rPr>
              <a:t>GW</a:t>
            </a:r>
            <a:endParaRPr lang="en-US" dirty="0">
              <a:solidFill>
                <a:srgbClr val="4596D1"/>
              </a:solidFill>
              <a:latin typeface="Arial" panose="020B0604020202020204" pitchFamily="34" charset="0"/>
            </a:endParaRPr>
          </a:p>
        </p:txBody>
      </p:sp>
      <p:cxnSp>
        <p:nvCxnSpPr>
          <p:cNvPr id="5" name="Прямая соединительная линия 4"/>
          <p:cNvCxnSpPr/>
          <p:nvPr/>
        </p:nvCxnSpPr>
        <p:spPr>
          <a:xfrm>
            <a:off x="1340027" y="5939021"/>
            <a:ext cx="3537667" cy="0"/>
          </a:xfrm>
          <a:prstGeom prst="line">
            <a:avLst/>
          </a:prstGeom>
          <a:noFill/>
          <a:ln w="9525" cap="flat" cmpd="sng" algn="ctr">
            <a:noFill/>
            <a:prstDash val="solid"/>
          </a:ln>
          <a:effectLst/>
        </p:spPr>
      </p:cxnSp>
      <p:sp>
        <p:nvSpPr>
          <p:cNvPr id="6" name="Прямоугольник 5"/>
          <p:cNvSpPr/>
          <p:nvPr/>
        </p:nvSpPr>
        <p:spPr>
          <a:xfrm>
            <a:off x="1646531" y="2123698"/>
            <a:ext cx="2769356" cy="830989"/>
          </a:xfrm>
          <a:prstGeom prst="rect">
            <a:avLst/>
          </a:prstGeom>
          <a:noFill/>
          <a:ln>
            <a:noFill/>
          </a:ln>
        </p:spPr>
        <p:txBody>
          <a:bodyPr wrap="square" lIns="91430" tIns="45716" rIns="91430" bIns="45716" rtlCol="0">
            <a:spAutoFit/>
          </a:bodyPr>
          <a:lstStyle/>
          <a:p>
            <a:pPr defTabSz="884491" fontAlgn="base">
              <a:spcBef>
                <a:spcPct val="0"/>
              </a:spcBef>
              <a:spcAft>
                <a:spcPct val="0"/>
              </a:spcAft>
            </a:pPr>
            <a:r>
              <a:rPr lang="en-US" sz="1600" cap="all" dirty="0">
                <a:solidFill>
                  <a:srgbClr val="191919"/>
                </a:solidFill>
                <a:cs typeface="Arial" panose="020B0604020202020204" pitchFamily="34" charset="0"/>
              </a:rPr>
              <a:t>OF installed capacities operated </a:t>
            </a:r>
            <a:r>
              <a:rPr lang="en-US" sz="1600" b="1" cap="all" dirty="0">
                <a:solidFill>
                  <a:srgbClr val="191919"/>
                </a:solidFill>
                <a:cs typeface="Arial" panose="020B0604020202020204" pitchFamily="34" charset="0"/>
              </a:rPr>
              <a:t>in Russia</a:t>
            </a:r>
            <a:endParaRPr lang="ru-RU" sz="1600" b="1" cap="all" dirty="0">
              <a:solidFill>
                <a:srgbClr val="191919"/>
              </a:solidFill>
              <a:cs typeface="Arial" panose="020B0604020202020204" pitchFamily="34" charset="0"/>
            </a:endParaRPr>
          </a:p>
        </p:txBody>
      </p:sp>
      <p:sp>
        <p:nvSpPr>
          <p:cNvPr id="7" name="TextBox 6"/>
          <p:cNvSpPr txBox="1"/>
          <p:nvPr/>
        </p:nvSpPr>
        <p:spPr>
          <a:xfrm flipH="1">
            <a:off x="763960" y="3453016"/>
            <a:ext cx="2612478" cy="463235"/>
          </a:xfrm>
          <a:prstGeom prst="rect">
            <a:avLst/>
          </a:prstGeom>
          <a:noFill/>
        </p:spPr>
        <p:txBody>
          <a:bodyPr wrap="square" lIns="91430" tIns="45716" rIns="91430" bIns="45716" rtlCol="0" anchor="ctr" anchorCtr="0">
            <a:noAutofit/>
          </a:bodyPr>
          <a:lstStyle/>
          <a:p>
            <a:pPr fontAlgn="base">
              <a:spcBef>
                <a:spcPct val="0"/>
              </a:spcBef>
              <a:spcAft>
                <a:spcPts val="600"/>
              </a:spcAft>
            </a:pPr>
            <a:r>
              <a:rPr lang="ru-RU" sz="5400" dirty="0">
                <a:solidFill>
                  <a:srgbClr val="003274"/>
                </a:solidFill>
              </a:rPr>
              <a:t>18.9</a:t>
            </a:r>
            <a:r>
              <a:rPr lang="ru-RU" sz="3200" dirty="0">
                <a:solidFill>
                  <a:srgbClr val="4596D1"/>
                </a:solidFill>
              </a:rPr>
              <a:t> %</a:t>
            </a:r>
            <a:endParaRPr lang="en-US" sz="5400" dirty="0">
              <a:solidFill>
                <a:srgbClr val="4596D1"/>
              </a:solidFill>
            </a:endParaRPr>
          </a:p>
        </p:txBody>
      </p:sp>
      <p:sp>
        <p:nvSpPr>
          <p:cNvPr id="8" name="Прямоугольник 7"/>
          <p:cNvSpPr/>
          <p:nvPr/>
        </p:nvSpPr>
        <p:spPr>
          <a:xfrm>
            <a:off x="1075267" y="4182187"/>
            <a:ext cx="2756099" cy="1077210"/>
          </a:xfrm>
          <a:prstGeom prst="rect">
            <a:avLst/>
          </a:prstGeom>
          <a:noFill/>
          <a:ln>
            <a:noFill/>
          </a:ln>
        </p:spPr>
        <p:txBody>
          <a:bodyPr wrap="square" lIns="91430" tIns="45716" rIns="91430" bIns="45716" rtlCol="0">
            <a:spAutoFit/>
          </a:bodyPr>
          <a:lstStyle/>
          <a:p>
            <a:pPr defTabSz="884491" fontAlgn="base">
              <a:spcBef>
                <a:spcPct val="0"/>
              </a:spcBef>
              <a:spcAft>
                <a:spcPct val="0"/>
              </a:spcAft>
            </a:pPr>
            <a:r>
              <a:rPr lang="en-US" sz="1600" cap="all" dirty="0">
                <a:solidFill>
                  <a:srgbClr val="191919"/>
                </a:solidFill>
                <a:cs typeface="Arial" panose="020B0604020202020204" pitchFamily="34" charset="0"/>
              </a:rPr>
              <a:t>Of total </a:t>
            </a:r>
            <a:r>
              <a:rPr lang="en-US" sz="1600" cap="all" dirty="0" err="1">
                <a:solidFill>
                  <a:srgbClr val="191919"/>
                </a:solidFill>
                <a:cs typeface="Arial" panose="020B0604020202020204" pitchFamily="34" charset="0"/>
              </a:rPr>
              <a:t>russian</a:t>
            </a:r>
            <a:r>
              <a:rPr lang="en-US" sz="1600" cap="all" dirty="0">
                <a:solidFill>
                  <a:srgbClr val="191919"/>
                </a:solidFill>
                <a:cs typeface="Arial" panose="020B0604020202020204" pitchFamily="34" charset="0"/>
              </a:rPr>
              <a:t> electricity generated by </a:t>
            </a:r>
            <a:r>
              <a:rPr lang="en-US" sz="1600" cap="all" dirty="0" err="1">
                <a:solidFill>
                  <a:srgbClr val="191919"/>
                </a:solidFill>
                <a:cs typeface="Arial" panose="020B0604020202020204" pitchFamily="34" charset="0"/>
              </a:rPr>
              <a:t>rosatom</a:t>
            </a:r>
            <a:endParaRPr lang="en-US" sz="1600" cap="all" dirty="0">
              <a:solidFill>
                <a:srgbClr val="191919"/>
              </a:solidFill>
              <a:cs typeface="Arial" panose="020B0604020202020204" pitchFamily="34" charset="0"/>
            </a:endParaRPr>
          </a:p>
        </p:txBody>
      </p:sp>
      <p:sp>
        <p:nvSpPr>
          <p:cNvPr id="9" name="TextBox 8"/>
          <p:cNvSpPr txBox="1"/>
          <p:nvPr/>
        </p:nvSpPr>
        <p:spPr>
          <a:xfrm flipH="1">
            <a:off x="2170295" y="5774077"/>
            <a:ext cx="2017909" cy="463235"/>
          </a:xfrm>
          <a:prstGeom prst="rect">
            <a:avLst/>
          </a:prstGeom>
          <a:noFill/>
        </p:spPr>
        <p:txBody>
          <a:bodyPr wrap="square" lIns="91430" tIns="45716" rIns="91430" bIns="45716" rtlCol="0" anchor="ctr" anchorCtr="0">
            <a:noAutofit/>
          </a:bodyPr>
          <a:lstStyle/>
          <a:p>
            <a:pPr fontAlgn="base">
              <a:spcBef>
                <a:spcPct val="0"/>
              </a:spcBef>
              <a:spcAft>
                <a:spcPts val="600"/>
              </a:spcAft>
            </a:pPr>
            <a:r>
              <a:rPr lang="en-US" sz="5400" dirty="0">
                <a:solidFill>
                  <a:srgbClr val="003274"/>
                </a:solidFill>
              </a:rPr>
              <a:t>1</a:t>
            </a:r>
            <a:r>
              <a:rPr lang="ru-RU" sz="5400" dirty="0">
                <a:solidFill>
                  <a:srgbClr val="003274"/>
                </a:solidFill>
              </a:rPr>
              <a:t>4</a:t>
            </a:r>
            <a:r>
              <a:rPr lang="en-US" sz="3200" dirty="0">
                <a:solidFill>
                  <a:srgbClr val="4596D1"/>
                </a:solidFill>
              </a:rPr>
              <a:t> %</a:t>
            </a:r>
            <a:endParaRPr lang="ru-RU" sz="5400" dirty="0">
              <a:solidFill>
                <a:srgbClr val="4596D1"/>
              </a:solidFill>
            </a:endParaRPr>
          </a:p>
          <a:p>
            <a:pPr fontAlgn="base">
              <a:spcBef>
                <a:spcPct val="0"/>
              </a:spcBef>
              <a:spcAft>
                <a:spcPts val="600"/>
              </a:spcAft>
            </a:pPr>
            <a:endParaRPr lang="en-US" sz="1400" b="1" cap="all" dirty="0">
              <a:solidFill>
                <a:srgbClr val="003274"/>
              </a:solidFill>
            </a:endParaRPr>
          </a:p>
        </p:txBody>
      </p:sp>
      <p:sp>
        <p:nvSpPr>
          <p:cNvPr id="10" name="Прямоугольник 9"/>
          <p:cNvSpPr/>
          <p:nvPr/>
        </p:nvSpPr>
        <p:spPr>
          <a:xfrm>
            <a:off x="3606743" y="5601400"/>
            <a:ext cx="2611266" cy="584767"/>
          </a:xfrm>
          <a:prstGeom prst="rect">
            <a:avLst/>
          </a:prstGeom>
          <a:noFill/>
          <a:ln>
            <a:noFill/>
          </a:ln>
        </p:spPr>
        <p:txBody>
          <a:bodyPr wrap="square" lIns="91430" tIns="45716" rIns="91430" bIns="45716" rtlCol="0">
            <a:spAutoFit/>
          </a:bodyPr>
          <a:lstStyle/>
          <a:p>
            <a:pPr defTabSz="884491" fontAlgn="base">
              <a:spcBef>
                <a:spcPct val="0"/>
              </a:spcBef>
              <a:spcAft>
                <a:spcPct val="0"/>
              </a:spcAft>
            </a:pPr>
            <a:r>
              <a:rPr lang="en-US" sz="1600" cap="all" dirty="0">
                <a:solidFill>
                  <a:srgbClr val="191919"/>
                </a:solidFill>
                <a:cs typeface="Arial" panose="020B0604020202020204" pitchFamily="34" charset="0"/>
              </a:rPr>
              <a:t>Of global </a:t>
            </a:r>
            <a:br>
              <a:rPr lang="en-US" sz="1600" cap="all" dirty="0">
                <a:solidFill>
                  <a:srgbClr val="191919"/>
                </a:solidFill>
                <a:cs typeface="Arial" panose="020B0604020202020204" pitchFamily="34" charset="0"/>
              </a:rPr>
            </a:br>
            <a:r>
              <a:rPr lang="en-US" sz="1600" b="1" cap="all" dirty="0">
                <a:solidFill>
                  <a:srgbClr val="191919"/>
                </a:solidFill>
                <a:cs typeface="Arial" panose="020B0604020202020204" pitchFamily="34" charset="0"/>
              </a:rPr>
              <a:t>uranium extraction</a:t>
            </a:r>
          </a:p>
        </p:txBody>
      </p:sp>
      <p:sp>
        <p:nvSpPr>
          <p:cNvPr id="11" name="TextBox 10"/>
          <p:cNvSpPr txBox="1"/>
          <p:nvPr/>
        </p:nvSpPr>
        <p:spPr>
          <a:xfrm flipH="1">
            <a:off x="4912376" y="1468658"/>
            <a:ext cx="3752259" cy="463235"/>
          </a:xfrm>
          <a:prstGeom prst="rect">
            <a:avLst/>
          </a:prstGeom>
          <a:noFill/>
        </p:spPr>
        <p:txBody>
          <a:bodyPr wrap="square" lIns="91430" tIns="45716" rIns="91430" bIns="45716" rtlCol="0" anchor="ctr" anchorCtr="0">
            <a:noAutofit/>
          </a:bodyPr>
          <a:lstStyle/>
          <a:p>
            <a:pPr fontAlgn="base">
              <a:spcBef>
                <a:spcPct val="0"/>
              </a:spcBef>
              <a:spcAft>
                <a:spcPts val="600"/>
              </a:spcAft>
            </a:pPr>
            <a:r>
              <a:rPr lang="ru-RU" sz="3200" dirty="0">
                <a:solidFill>
                  <a:srgbClr val="4596D1"/>
                </a:solidFill>
              </a:rPr>
              <a:t>№</a:t>
            </a:r>
            <a:r>
              <a:rPr lang="ru-RU" sz="5400" dirty="0">
                <a:solidFill>
                  <a:srgbClr val="003274"/>
                </a:solidFill>
              </a:rPr>
              <a:t>1</a:t>
            </a:r>
            <a:r>
              <a:rPr lang="en-US" sz="5400" dirty="0">
                <a:solidFill>
                  <a:srgbClr val="003274"/>
                </a:solidFill>
              </a:rPr>
              <a:t>-3</a:t>
            </a:r>
            <a:r>
              <a:rPr lang="ru-RU" sz="5400" dirty="0">
                <a:solidFill>
                  <a:srgbClr val="003274"/>
                </a:solidFill>
              </a:rPr>
              <a:t>6</a:t>
            </a:r>
            <a:r>
              <a:rPr lang="en-US" sz="5400" dirty="0">
                <a:solidFill>
                  <a:srgbClr val="003274"/>
                </a:solidFill>
              </a:rPr>
              <a:t> </a:t>
            </a:r>
            <a:r>
              <a:rPr lang="en-US" sz="3200" dirty="0">
                <a:solidFill>
                  <a:srgbClr val="003274"/>
                </a:solidFill>
              </a:rPr>
              <a:t>UNITS</a:t>
            </a:r>
            <a:endParaRPr lang="ru-RU" sz="5400" dirty="0">
              <a:solidFill>
                <a:srgbClr val="003274"/>
              </a:solidFill>
            </a:endParaRPr>
          </a:p>
          <a:p>
            <a:pPr fontAlgn="base">
              <a:spcBef>
                <a:spcPct val="0"/>
              </a:spcBef>
              <a:spcAft>
                <a:spcPts val="600"/>
              </a:spcAft>
            </a:pPr>
            <a:endParaRPr lang="en-US" sz="1400" b="1" cap="all" dirty="0">
              <a:solidFill>
                <a:srgbClr val="003274"/>
              </a:solidFill>
            </a:endParaRPr>
          </a:p>
        </p:txBody>
      </p:sp>
      <p:sp>
        <p:nvSpPr>
          <p:cNvPr id="12" name="Прямоугольник 11"/>
          <p:cNvSpPr/>
          <p:nvPr/>
        </p:nvSpPr>
        <p:spPr>
          <a:xfrm>
            <a:off x="5726802" y="2123698"/>
            <a:ext cx="2849415" cy="830989"/>
          </a:xfrm>
          <a:prstGeom prst="rect">
            <a:avLst/>
          </a:prstGeom>
          <a:noFill/>
          <a:ln>
            <a:noFill/>
          </a:ln>
        </p:spPr>
        <p:txBody>
          <a:bodyPr wrap="square" lIns="91430" tIns="45716" rIns="91430" bIns="45716" rtlCol="0">
            <a:spAutoFit/>
          </a:bodyPr>
          <a:lstStyle/>
          <a:p>
            <a:pPr defTabSz="884491" fontAlgn="base">
              <a:spcBef>
                <a:spcPct val="0"/>
              </a:spcBef>
              <a:spcAft>
                <a:spcPct val="0"/>
              </a:spcAft>
            </a:pPr>
            <a:r>
              <a:rPr lang="en-US" sz="1600" cap="all" dirty="0">
                <a:solidFill>
                  <a:srgbClr val="191919"/>
                </a:solidFill>
                <a:cs typeface="Arial" panose="020B0604020202020204" pitchFamily="34" charset="0"/>
              </a:rPr>
              <a:t>By </a:t>
            </a:r>
            <a:r>
              <a:rPr lang="en-US" sz="1600" cap="all" dirty="0" err="1">
                <a:solidFill>
                  <a:srgbClr val="191919"/>
                </a:solidFill>
                <a:cs typeface="Arial" panose="020B0604020202020204" pitchFamily="34" charset="0"/>
              </a:rPr>
              <a:t>npp</a:t>
            </a:r>
            <a:r>
              <a:rPr lang="en-US" sz="1600" cap="all" dirty="0">
                <a:solidFill>
                  <a:srgbClr val="191919"/>
                </a:solidFill>
                <a:cs typeface="Arial" panose="020B0604020202020204" pitchFamily="34" charset="0"/>
              </a:rPr>
              <a:t> units </a:t>
            </a:r>
            <a:br>
              <a:rPr lang="en-US" sz="1600" cap="all" dirty="0">
                <a:solidFill>
                  <a:srgbClr val="191919"/>
                </a:solidFill>
                <a:cs typeface="Arial" panose="020B0604020202020204" pitchFamily="34" charset="0"/>
              </a:rPr>
            </a:br>
            <a:r>
              <a:rPr lang="en-US" sz="1600" cap="all" dirty="0">
                <a:solidFill>
                  <a:srgbClr val="191919"/>
                </a:solidFill>
                <a:cs typeface="Arial" panose="020B0604020202020204" pitchFamily="34" charset="0"/>
              </a:rPr>
              <a:t>in international backlog</a:t>
            </a:r>
            <a:endParaRPr lang="en-US" sz="1600" b="1" cap="all" dirty="0">
              <a:solidFill>
                <a:srgbClr val="191919"/>
              </a:solidFill>
              <a:cs typeface="Arial" panose="020B0604020202020204" pitchFamily="34" charset="0"/>
            </a:endParaRPr>
          </a:p>
        </p:txBody>
      </p:sp>
      <p:sp>
        <p:nvSpPr>
          <p:cNvPr id="13" name="TextBox 12"/>
          <p:cNvSpPr txBox="1"/>
          <p:nvPr/>
        </p:nvSpPr>
        <p:spPr>
          <a:xfrm flipH="1">
            <a:off x="6218009" y="3478792"/>
            <a:ext cx="2826872" cy="463235"/>
          </a:xfrm>
          <a:prstGeom prst="rect">
            <a:avLst/>
          </a:prstGeom>
          <a:noFill/>
        </p:spPr>
        <p:txBody>
          <a:bodyPr wrap="square" lIns="91430" tIns="45716" rIns="91430" bIns="45716" rtlCol="0" anchor="ctr" anchorCtr="0">
            <a:noAutofit/>
          </a:bodyPr>
          <a:lstStyle/>
          <a:p>
            <a:pPr fontAlgn="base">
              <a:spcBef>
                <a:spcPct val="0"/>
              </a:spcBef>
              <a:spcAft>
                <a:spcPts val="600"/>
              </a:spcAft>
            </a:pPr>
            <a:r>
              <a:rPr lang="en-US" sz="5400" dirty="0">
                <a:solidFill>
                  <a:srgbClr val="003274"/>
                </a:solidFill>
              </a:rPr>
              <a:t>3</a:t>
            </a:r>
            <a:r>
              <a:rPr lang="ru-RU" sz="5400" dirty="0">
                <a:solidFill>
                  <a:srgbClr val="003274"/>
                </a:solidFill>
              </a:rPr>
              <a:t>6</a:t>
            </a:r>
            <a:r>
              <a:rPr lang="en-US" sz="3200" dirty="0">
                <a:solidFill>
                  <a:srgbClr val="4596D1"/>
                </a:solidFill>
              </a:rPr>
              <a:t> % </a:t>
            </a:r>
            <a:endParaRPr lang="ru-RU" sz="5400" dirty="0">
              <a:solidFill>
                <a:srgbClr val="4596D1"/>
              </a:solidFill>
            </a:endParaRPr>
          </a:p>
        </p:txBody>
      </p:sp>
      <p:sp>
        <p:nvSpPr>
          <p:cNvPr id="14" name="Прямоугольник 13"/>
          <p:cNvSpPr/>
          <p:nvPr/>
        </p:nvSpPr>
        <p:spPr>
          <a:xfrm>
            <a:off x="6238179" y="4182187"/>
            <a:ext cx="2426456" cy="830989"/>
          </a:xfrm>
          <a:prstGeom prst="rect">
            <a:avLst/>
          </a:prstGeom>
          <a:noFill/>
          <a:ln>
            <a:noFill/>
          </a:ln>
        </p:spPr>
        <p:txBody>
          <a:bodyPr wrap="square" lIns="91430" tIns="45716" rIns="91430" bIns="45716" rtlCol="0">
            <a:spAutoFit/>
          </a:bodyPr>
          <a:lstStyle/>
          <a:p>
            <a:pPr defTabSz="884491" fontAlgn="base">
              <a:spcBef>
                <a:spcPct val="0"/>
              </a:spcBef>
              <a:spcAft>
                <a:spcPct val="0"/>
              </a:spcAft>
            </a:pPr>
            <a:r>
              <a:rPr lang="en-US" sz="1600" cap="all" dirty="0">
                <a:solidFill>
                  <a:srgbClr val="191919"/>
                </a:solidFill>
                <a:cs typeface="Arial" panose="020B0604020202020204" pitchFamily="34" charset="0"/>
              </a:rPr>
              <a:t>Of global </a:t>
            </a:r>
            <a:r>
              <a:rPr lang="en-US" sz="1600" b="1" cap="all" dirty="0">
                <a:solidFill>
                  <a:srgbClr val="191919"/>
                </a:solidFill>
                <a:cs typeface="Arial" panose="020B0604020202020204" pitchFamily="34" charset="0"/>
              </a:rPr>
              <a:t>enrichment market</a:t>
            </a:r>
          </a:p>
        </p:txBody>
      </p:sp>
      <p:pic>
        <p:nvPicPr>
          <p:cNvPr id="15" name="Рисунок 14"/>
          <p:cNvPicPr>
            <a:picLocks noChangeAspect="1"/>
          </p:cNvPicPr>
          <p:nvPr/>
        </p:nvPicPr>
        <p:blipFill rotWithShape="1">
          <a:blip r:embed="rId3" cstate="print">
            <a:extLst>
              <a:ext uri="{28A0092B-C50C-407E-A947-70E740481C1C}">
                <a14:useLocalDpi xmlns:a14="http://schemas.microsoft.com/office/drawing/2010/main" val="0"/>
              </a:ext>
            </a:extLst>
          </a:blip>
          <a:srcRect t="6960" b="18681"/>
          <a:stretch/>
        </p:blipFill>
        <p:spPr>
          <a:xfrm>
            <a:off x="3858152" y="3123851"/>
            <a:ext cx="1877156" cy="1772301"/>
          </a:xfrm>
          <a:prstGeom prst="rect">
            <a:avLst/>
          </a:prstGeom>
        </p:spPr>
      </p:pic>
      <p:cxnSp>
        <p:nvCxnSpPr>
          <p:cNvPr id="21" name="Прямая соединительная линия 20"/>
          <p:cNvCxnSpPr/>
          <p:nvPr/>
        </p:nvCxnSpPr>
        <p:spPr bwMode="auto">
          <a:xfrm>
            <a:off x="2347413" y="5517232"/>
            <a:ext cx="4381936" cy="0"/>
          </a:xfrm>
          <a:prstGeom prst="line">
            <a:avLst/>
          </a:prstGeom>
          <a:noFill/>
          <a:ln w="19050" cap="flat" cmpd="sng">
            <a:solidFill>
              <a:schemeClr val="accent2">
                <a:lumMod val="20000"/>
                <a:lumOff val="8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5" name="Рисунок 3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219" y="2048053"/>
            <a:ext cx="1153533" cy="978755"/>
          </a:xfrm>
          <a:prstGeom prst="rect">
            <a:avLst/>
          </a:prstGeom>
        </p:spPr>
      </p:pic>
      <p:grpSp>
        <p:nvGrpSpPr>
          <p:cNvPr id="36" name="Группа 35"/>
          <p:cNvGrpSpPr/>
          <p:nvPr/>
        </p:nvGrpSpPr>
        <p:grpSpPr>
          <a:xfrm>
            <a:off x="6215118" y="5630114"/>
            <a:ext cx="514231" cy="508064"/>
            <a:chOff x="38100" y="4579938"/>
            <a:chExt cx="2117725" cy="2092325"/>
          </a:xfrm>
        </p:grpSpPr>
        <p:sp>
          <p:nvSpPr>
            <p:cNvPr id="37" name="Freeform 23"/>
            <p:cNvSpPr>
              <a:spLocks/>
            </p:cNvSpPr>
            <p:nvPr/>
          </p:nvSpPr>
          <p:spPr bwMode="auto">
            <a:xfrm>
              <a:off x="1568450" y="4964113"/>
              <a:ext cx="311150" cy="301625"/>
            </a:xfrm>
            <a:custGeom>
              <a:avLst/>
              <a:gdLst>
                <a:gd name="T0" fmla="*/ 0 w 196"/>
                <a:gd name="T1" fmla="*/ 76 h 190"/>
                <a:gd name="T2" fmla="*/ 0 w 196"/>
                <a:gd name="T3" fmla="*/ 76 h 190"/>
                <a:gd name="T4" fmla="*/ 0 w 196"/>
                <a:gd name="T5" fmla="*/ 96 h 190"/>
                <a:gd name="T6" fmla="*/ 2 w 196"/>
                <a:gd name="T7" fmla="*/ 114 h 190"/>
                <a:gd name="T8" fmla="*/ 8 w 196"/>
                <a:gd name="T9" fmla="*/ 132 h 190"/>
                <a:gd name="T10" fmla="*/ 16 w 196"/>
                <a:gd name="T11" fmla="*/ 148 h 190"/>
                <a:gd name="T12" fmla="*/ 30 w 196"/>
                <a:gd name="T13" fmla="*/ 162 h 190"/>
                <a:gd name="T14" fmla="*/ 44 w 196"/>
                <a:gd name="T15" fmla="*/ 174 h 190"/>
                <a:gd name="T16" fmla="*/ 60 w 196"/>
                <a:gd name="T17" fmla="*/ 182 h 190"/>
                <a:gd name="T18" fmla="*/ 80 w 196"/>
                <a:gd name="T19" fmla="*/ 188 h 190"/>
                <a:gd name="T20" fmla="*/ 80 w 196"/>
                <a:gd name="T21" fmla="*/ 188 h 190"/>
                <a:gd name="T22" fmla="*/ 100 w 196"/>
                <a:gd name="T23" fmla="*/ 190 h 190"/>
                <a:gd name="T24" fmla="*/ 118 w 196"/>
                <a:gd name="T25" fmla="*/ 188 h 190"/>
                <a:gd name="T26" fmla="*/ 136 w 196"/>
                <a:gd name="T27" fmla="*/ 182 h 190"/>
                <a:gd name="T28" fmla="*/ 154 w 196"/>
                <a:gd name="T29" fmla="*/ 174 h 190"/>
                <a:gd name="T30" fmla="*/ 168 w 196"/>
                <a:gd name="T31" fmla="*/ 162 h 190"/>
                <a:gd name="T32" fmla="*/ 180 w 196"/>
                <a:gd name="T33" fmla="*/ 148 h 190"/>
                <a:gd name="T34" fmla="*/ 188 w 196"/>
                <a:gd name="T35" fmla="*/ 130 h 190"/>
                <a:gd name="T36" fmla="*/ 194 w 196"/>
                <a:gd name="T37" fmla="*/ 112 h 190"/>
                <a:gd name="T38" fmla="*/ 194 w 196"/>
                <a:gd name="T39" fmla="*/ 112 h 190"/>
                <a:gd name="T40" fmla="*/ 196 w 196"/>
                <a:gd name="T41" fmla="*/ 92 h 190"/>
                <a:gd name="T42" fmla="*/ 192 w 196"/>
                <a:gd name="T43" fmla="*/ 74 h 190"/>
                <a:gd name="T44" fmla="*/ 186 w 196"/>
                <a:gd name="T45" fmla="*/ 56 h 190"/>
                <a:gd name="T46" fmla="*/ 178 w 196"/>
                <a:gd name="T47" fmla="*/ 40 h 190"/>
                <a:gd name="T48" fmla="*/ 166 w 196"/>
                <a:gd name="T49" fmla="*/ 26 h 190"/>
                <a:gd name="T50" fmla="*/ 150 w 196"/>
                <a:gd name="T51" fmla="*/ 14 h 190"/>
                <a:gd name="T52" fmla="*/ 134 w 196"/>
                <a:gd name="T53" fmla="*/ 6 h 190"/>
                <a:gd name="T54" fmla="*/ 114 w 196"/>
                <a:gd name="T55" fmla="*/ 0 h 190"/>
                <a:gd name="T56" fmla="*/ 114 w 196"/>
                <a:gd name="T57" fmla="*/ 0 h 190"/>
                <a:gd name="T58" fmla="*/ 94 w 196"/>
                <a:gd name="T59" fmla="*/ 0 h 190"/>
                <a:gd name="T60" fmla="*/ 76 w 196"/>
                <a:gd name="T61" fmla="*/ 2 h 190"/>
                <a:gd name="T62" fmla="*/ 58 w 196"/>
                <a:gd name="T63" fmla="*/ 6 h 190"/>
                <a:gd name="T64" fmla="*/ 42 w 196"/>
                <a:gd name="T65" fmla="*/ 16 h 190"/>
                <a:gd name="T66" fmla="*/ 26 w 196"/>
                <a:gd name="T67" fmla="*/ 28 h 190"/>
                <a:gd name="T68" fmla="*/ 16 w 196"/>
                <a:gd name="T69" fmla="*/ 42 h 190"/>
                <a:gd name="T70" fmla="*/ 6 w 196"/>
                <a:gd name="T71" fmla="*/ 58 h 190"/>
                <a:gd name="T72" fmla="*/ 0 w 196"/>
                <a:gd name="T73" fmla="*/ 76 h 190"/>
                <a:gd name="T74" fmla="*/ 0 w 196"/>
                <a:gd name="T75" fmla="*/ 7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6" h="190">
                  <a:moveTo>
                    <a:pt x="0" y="76"/>
                  </a:moveTo>
                  <a:lnTo>
                    <a:pt x="0" y="76"/>
                  </a:lnTo>
                  <a:lnTo>
                    <a:pt x="0" y="96"/>
                  </a:lnTo>
                  <a:lnTo>
                    <a:pt x="2" y="114"/>
                  </a:lnTo>
                  <a:lnTo>
                    <a:pt x="8" y="132"/>
                  </a:lnTo>
                  <a:lnTo>
                    <a:pt x="16" y="148"/>
                  </a:lnTo>
                  <a:lnTo>
                    <a:pt x="30" y="162"/>
                  </a:lnTo>
                  <a:lnTo>
                    <a:pt x="44" y="174"/>
                  </a:lnTo>
                  <a:lnTo>
                    <a:pt x="60" y="182"/>
                  </a:lnTo>
                  <a:lnTo>
                    <a:pt x="80" y="188"/>
                  </a:lnTo>
                  <a:lnTo>
                    <a:pt x="80" y="188"/>
                  </a:lnTo>
                  <a:lnTo>
                    <a:pt x="100" y="190"/>
                  </a:lnTo>
                  <a:lnTo>
                    <a:pt x="118" y="188"/>
                  </a:lnTo>
                  <a:lnTo>
                    <a:pt x="136" y="182"/>
                  </a:lnTo>
                  <a:lnTo>
                    <a:pt x="154" y="174"/>
                  </a:lnTo>
                  <a:lnTo>
                    <a:pt x="168" y="162"/>
                  </a:lnTo>
                  <a:lnTo>
                    <a:pt x="180" y="148"/>
                  </a:lnTo>
                  <a:lnTo>
                    <a:pt x="188" y="130"/>
                  </a:lnTo>
                  <a:lnTo>
                    <a:pt x="194" y="112"/>
                  </a:lnTo>
                  <a:lnTo>
                    <a:pt x="194" y="112"/>
                  </a:lnTo>
                  <a:lnTo>
                    <a:pt x="196" y="92"/>
                  </a:lnTo>
                  <a:lnTo>
                    <a:pt x="192" y="74"/>
                  </a:lnTo>
                  <a:lnTo>
                    <a:pt x="186" y="56"/>
                  </a:lnTo>
                  <a:lnTo>
                    <a:pt x="178" y="40"/>
                  </a:lnTo>
                  <a:lnTo>
                    <a:pt x="166" y="26"/>
                  </a:lnTo>
                  <a:lnTo>
                    <a:pt x="150" y="14"/>
                  </a:lnTo>
                  <a:lnTo>
                    <a:pt x="134" y="6"/>
                  </a:lnTo>
                  <a:lnTo>
                    <a:pt x="114" y="0"/>
                  </a:lnTo>
                  <a:lnTo>
                    <a:pt x="114" y="0"/>
                  </a:lnTo>
                  <a:lnTo>
                    <a:pt x="94" y="0"/>
                  </a:lnTo>
                  <a:lnTo>
                    <a:pt x="76" y="2"/>
                  </a:lnTo>
                  <a:lnTo>
                    <a:pt x="58" y="6"/>
                  </a:lnTo>
                  <a:lnTo>
                    <a:pt x="42" y="16"/>
                  </a:lnTo>
                  <a:lnTo>
                    <a:pt x="26" y="28"/>
                  </a:lnTo>
                  <a:lnTo>
                    <a:pt x="16" y="42"/>
                  </a:lnTo>
                  <a:lnTo>
                    <a:pt x="6" y="58"/>
                  </a:lnTo>
                  <a:lnTo>
                    <a:pt x="0" y="76"/>
                  </a:lnTo>
                  <a:lnTo>
                    <a:pt x="0" y="76"/>
                  </a:lnTo>
                  <a:close/>
                </a:path>
              </a:pathLst>
            </a:custGeom>
            <a:solidFill>
              <a:srgbClr val="14246D"/>
            </a:solidFill>
            <a:ln>
              <a:noFill/>
            </a:ln>
          </p:spPr>
          <p:txBody>
            <a:bodyPr vert="horz" wrap="square" lIns="68580" tIns="34290" rIns="68580" bIns="34290" numCol="1" anchor="t" anchorCtr="0" compatLnSpc="1">
              <a:prstTxWarp prst="textNoShape">
                <a:avLst/>
              </a:prstTxWarp>
            </a:bodyPr>
            <a:lstStyle/>
            <a:p>
              <a:pPr defTabSz="884491"/>
              <a:endParaRPr lang="ru-RU" sz="1300">
                <a:solidFill>
                  <a:srgbClr val="414142"/>
                </a:solidFill>
              </a:endParaRPr>
            </a:p>
          </p:txBody>
        </p:sp>
        <p:sp>
          <p:nvSpPr>
            <p:cNvPr id="38" name="Freeform 24"/>
            <p:cNvSpPr>
              <a:spLocks/>
            </p:cNvSpPr>
            <p:nvPr/>
          </p:nvSpPr>
          <p:spPr bwMode="auto">
            <a:xfrm>
              <a:off x="1177925" y="4926013"/>
              <a:ext cx="346075" cy="336550"/>
            </a:xfrm>
            <a:custGeom>
              <a:avLst/>
              <a:gdLst>
                <a:gd name="T0" fmla="*/ 2 w 218"/>
                <a:gd name="T1" fmla="*/ 86 h 212"/>
                <a:gd name="T2" fmla="*/ 2 w 218"/>
                <a:gd name="T3" fmla="*/ 86 h 212"/>
                <a:gd name="T4" fmla="*/ 0 w 218"/>
                <a:gd name="T5" fmla="*/ 108 h 212"/>
                <a:gd name="T6" fmla="*/ 2 w 218"/>
                <a:gd name="T7" fmla="*/ 128 h 212"/>
                <a:gd name="T8" fmla="*/ 8 w 218"/>
                <a:gd name="T9" fmla="*/ 148 h 212"/>
                <a:gd name="T10" fmla="*/ 20 w 218"/>
                <a:gd name="T11" fmla="*/ 166 h 212"/>
                <a:gd name="T12" fmla="*/ 32 w 218"/>
                <a:gd name="T13" fmla="*/ 182 h 212"/>
                <a:gd name="T14" fmla="*/ 50 w 218"/>
                <a:gd name="T15" fmla="*/ 194 h 212"/>
                <a:gd name="T16" fmla="*/ 68 w 218"/>
                <a:gd name="T17" fmla="*/ 204 h 212"/>
                <a:gd name="T18" fmla="*/ 90 w 218"/>
                <a:gd name="T19" fmla="*/ 210 h 212"/>
                <a:gd name="T20" fmla="*/ 90 w 218"/>
                <a:gd name="T21" fmla="*/ 210 h 212"/>
                <a:gd name="T22" fmla="*/ 112 w 218"/>
                <a:gd name="T23" fmla="*/ 212 h 212"/>
                <a:gd name="T24" fmla="*/ 134 w 218"/>
                <a:gd name="T25" fmla="*/ 210 h 212"/>
                <a:gd name="T26" fmla="*/ 154 w 218"/>
                <a:gd name="T27" fmla="*/ 204 h 212"/>
                <a:gd name="T28" fmla="*/ 172 w 218"/>
                <a:gd name="T29" fmla="*/ 194 h 212"/>
                <a:gd name="T30" fmla="*/ 188 w 218"/>
                <a:gd name="T31" fmla="*/ 180 h 212"/>
                <a:gd name="T32" fmla="*/ 200 w 218"/>
                <a:gd name="T33" fmla="*/ 164 h 212"/>
                <a:gd name="T34" fmla="*/ 210 w 218"/>
                <a:gd name="T35" fmla="*/ 146 h 212"/>
                <a:gd name="T36" fmla="*/ 216 w 218"/>
                <a:gd name="T37" fmla="*/ 126 h 212"/>
                <a:gd name="T38" fmla="*/ 216 w 218"/>
                <a:gd name="T39" fmla="*/ 126 h 212"/>
                <a:gd name="T40" fmla="*/ 218 w 218"/>
                <a:gd name="T41" fmla="*/ 104 h 212"/>
                <a:gd name="T42" fmla="*/ 216 w 218"/>
                <a:gd name="T43" fmla="*/ 84 h 212"/>
                <a:gd name="T44" fmla="*/ 208 w 218"/>
                <a:gd name="T45" fmla="*/ 64 h 212"/>
                <a:gd name="T46" fmla="*/ 198 w 218"/>
                <a:gd name="T47" fmla="*/ 46 h 212"/>
                <a:gd name="T48" fmla="*/ 186 w 218"/>
                <a:gd name="T49" fmla="*/ 30 h 212"/>
                <a:gd name="T50" fmla="*/ 168 w 218"/>
                <a:gd name="T51" fmla="*/ 16 h 212"/>
                <a:gd name="T52" fmla="*/ 150 w 218"/>
                <a:gd name="T53" fmla="*/ 8 h 212"/>
                <a:gd name="T54" fmla="*/ 128 w 218"/>
                <a:gd name="T55" fmla="*/ 0 h 212"/>
                <a:gd name="T56" fmla="*/ 128 w 218"/>
                <a:gd name="T57" fmla="*/ 0 h 212"/>
                <a:gd name="T58" fmla="*/ 106 w 218"/>
                <a:gd name="T59" fmla="*/ 0 h 212"/>
                <a:gd name="T60" fmla="*/ 84 w 218"/>
                <a:gd name="T61" fmla="*/ 2 h 212"/>
                <a:gd name="T62" fmla="*/ 64 w 218"/>
                <a:gd name="T63" fmla="*/ 8 h 212"/>
                <a:gd name="T64" fmla="*/ 46 w 218"/>
                <a:gd name="T65" fmla="*/ 18 h 212"/>
                <a:gd name="T66" fmla="*/ 30 w 218"/>
                <a:gd name="T67" fmla="*/ 30 h 212"/>
                <a:gd name="T68" fmla="*/ 18 w 218"/>
                <a:gd name="T69" fmla="*/ 46 h 212"/>
                <a:gd name="T70" fmla="*/ 8 w 218"/>
                <a:gd name="T71" fmla="*/ 66 h 212"/>
                <a:gd name="T72" fmla="*/ 2 w 218"/>
                <a:gd name="T73" fmla="*/ 86 h 212"/>
                <a:gd name="T74" fmla="*/ 2 w 218"/>
                <a:gd name="T75" fmla="*/ 8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2">
                  <a:moveTo>
                    <a:pt x="2" y="86"/>
                  </a:moveTo>
                  <a:lnTo>
                    <a:pt x="2" y="86"/>
                  </a:lnTo>
                  <a:lnTo>
                    <a:pt x="0" y="108"/>
                  </a:lnTo>
                  <a:lnTo>
                    <a:pt x="2" y="128"/>
                  </a:lnTo>
                  <a:lnTo>
                    <a:pt x="8" y="148"/>
                  </a:lnTo>
                  <a:lnTo>
                    <a:pt x="20" y="166"/>
                  </a:lnTo>
                  <a:lnTo>
                    <a:pt x="32" y="182"/>
                  </a:lnTo>
                  <a:lnTo>
                    <a:pt x="50" y="194"/>
                  </a:lnTo>
                  <a:lnTo>
                    <a:pt x="68" y="204"/>
                  </a:lnTo>
                  <a:lnTo>
                    <a:pt x="90" y="210"/>
                  </a:lnTo>
                  <a:lnTo>
                    <a:pt x="90" y="210"/>
                  </a:lnTo>
                  <a:lnTo>
                    <a:pt x="112" y="212"/>
                  </a:lnTo>
                  <a:lnTo>
                    <a:pt x="134" y="210"/>
                  </a:lnTo>
                  <a:lnTo>
                    <a:pt x="154" y="204"/>
                  </a:lnTo>
                  <a:lnTo>
                    <a:pt x="172" y="194"/>
                  </a:lnTo>
                  <a:lnTo>
                    <a:pt x="188" y="180"/>
                  </a:lnTo>
                  <a:lnTo>
                    <a:pt x="200" y="164"/>
                  </a:lnTo>
                  <a:lnTo>
                    <a:pt x="210" y="146"/>
                  </a:lnTo>
                  <a:lnTo>
                    <a:pt x="216" y="126"/>
                  </a:lnTo>
                  <a:lnTo>
                    <a:pt x="216" y="126"/>
                  </a:lnTo>
                  <a:lnTo>
                    <a:pt x="218" y="104"/>
                  </a:lnTo>
                  <a:lnTo>
                    <a:pt x="216" y="84"/>
                  </a:lnTo>
                  <a:lnTo>
                    <a:pt x="208" y="64"/>
                  </a:lnTo>
                  <a:lnTo>
                    <a:pt x="198" y="46"/>
                  </a:lnTo>
                  <a:lnTo>
                    <a:pt x="186" y="30"/>
                  </a:lnTo>
                  <a:lnTo>
                    <a:pt x="168" y="16"/>
                  </a:lnTo>
                  <a:lnTo>
                    <a:pt x="150" y="8"/>
                  </a:lnTo>
                  <a:lnTo>
                    <a:pt x="128" y="0"/>
                  </a:lnTo>
                  <a:lnTo>
                    <a:pt x="128" y="0"/>
                  </a:lnTo>
                  <a:lnTo>
                    <a:pt x="106" y="0"/>
                  </a:lnTo>
                  <a:lnTo>
                    <a:pt x="84" y="2"/>
                  </a:lnTo>
                  <a:lnTo>
                    <a:pt x="64" y="8"/>
                  </a:lnTo>
                  <a:lnTo>
                    <a:pt x="46" y="18"/>
                  </a:lnTo>
                  <a:lnTo>
                    <a:pt x="30" y="30"/>
                  </a:lnTo>
                  <a:lnTo>
                    <a:pt x="18" y="46"/>
                  </a:lnTo>
                  <a:lnTo>
                    <a:pt x="8" y="66"/>
                  </a:lnTo>
                  <a:lnTo>
                    <a:pt x="2" y="86"/>
                  </a:lnTo>
                  <a:lnTo>
                    <a:pt x="2" y="86"/>
                  </a:lnTo>
                  <a:close/>
                </a:path>
              </a:pathLst>
            </a:custGeom>
            <a:solidFill>
              <a:srgbClr val="14246D"/>
            </a:solidFill>
            <a:ln>
              <a:noFill/>
            </a:ln>
          </p:spPr>
          <p:txBody>
            <a:bodyPr vert="horz" wrap="square" lIns="68580" tIns="34290" rIns="68580" bIns="34290" numCol="1" anchor="t" anchorCtr="0" compatLnSpc="1">
              <a:prstTxWarp prst="textNoShape">
                <a:avLst/>
              </a:prstTxWarp>
            </a:bodyPr>
            <a:lstStyle/>
            <a:p>
              <a:pPr defTabSz="884491"/>
              <a:endParaRPr lang="ru-RU" sz="1300">
                <a:solidFill>
                  <a:srgbClr val="414142"/>
                </a:solidFill>
              </a:endParaRPr>
            </a:p>
          </p:txBody>
        </p:sp>
        <p:sp>
          <p:nvSpPr>
            <p:cNvPr id="39" name="Freeform 25"/>
            <p:cNvSpPr>
              <a:spLocks/>
            </p:cNvSpPr>
            <p:nvPr/>
          </p:nvSpPr>
          <p:spPr bwMode="auto">
            <a:xfrm>
              <a:off x="806450" y="4979988"/>
              <a:ext cx="346075" cy="339725"/>
            </a:xfrm>
            <a:custGeom>
              <a:avLst/>
              <a:gdLst>
                <a:gd name="T0" fmla="*/ 2 w 218"/>
                <a:gd name="T1" fmla="*/ 88 h 214"/>
                <a:gd name="T2" fmla="*/ 2 w 218"/>
                <a:gd name="T3" fmla="*/ 88 h 214"/>
                <a:gd name="T4" fmla="*/ 0 w 218"/>
                <a:gd name="T5" fmla="*/ 110 h 214"/>
                <a:gd name="T6" fmla="*/ 2 w 218"/>
                <a:gd name="T7" fmla="*/ 130 h 214"/>
                <a:gd name="T8" fmla="*/ 10 w 218"/>
                <a:gd name="T9" fmla="*/ 150 h 214"/>
                <a:gd name="T10" fmla="*/ 20 w 218"/>
                <a:gd name="T11" fmla="*/ 168 h 214"/>
                <a:gd name="T12" fmla="*/ 34 w 218"/>
                <a:gd name="T13" fmla="*/ 184 h 214"/>
                <a:gd name="T14" fmla="*/ 50 w 218"/>
                <a:gd name="T15" fmla="*/ 196 h 214"/>
                <a:gd name="T16" fmla="*/ 68 w 218"/>
                <a:gd name="T17" fmla="*/ 206 h 214"/>
                <a:gd name="T18" fmla="*/ 90 w 218"/>
                <a:gd name="T19" fmla="*/ 212 h 214"/>
                <a:gd name="T20" fmla="*/ 90 w 218"/>
                <a:gd name="T21" fmla="*/ 212 h 214"/>
                <a:gd name="T22" fmla="*/ 112 w 218"/>
                <a:gd name="T23" fmla="*/ 214 h 214"/>
                <a:gd name="T24" fmla="*/ 134 w 218"/>
                <a:gd name="T25" fmla="*/ 212 h 214"/>
                <a:gd name="T26" fmla="*/ 154 w 218"/>
                <a:gd name="T27" fmla="*/ 206 h 214"/>
                <a:gd name="T28" fmla="*/ 172 w 218"/>
                <a:gd name="T29" fmla="*/ 196 h 214"/>
                <a:gd name="T30" fmla="*/ 188 w 218"/>
                <a:gd name="T31" fmla="*/ 182 h 214"/>
                <a:gd name="T32" fmla="*/ 202 w 218"/>
                <a:gd name="T33" fmla="*/ 166 h 214"/>
                <a:gd name="T34" fmla="*/ 212 w 218"/>
                <a:gd name="T35" fmla="*/ 148 h 214"/>
                <a:gd name="T36" fmla="*/ 218 w 218"/>
                <a:gd name="T37" fmla="*/ 128 h 214"/>
                <a:gd name="T38" fmla="*/ 218 w 218"/>
                <a:gd name="T39" fmla="*/ 128 h 214"/>
                <a:gd name="T40" fmla="*/ 218 w 218"/>
                <a:gd name="T41" fmla="*/ 106 h 214"/>
                <a:gd name="T42" fmla="*/ 216 w 218"/>
                <a:gd name="T43" fmla="*/ 84 h 214"/>
                <a:gd name="T44" fmla="*/ 210 w 218"/>
                <a:gd name="T45" fmla="*/ 64 h 214"/>
                <a:gd name="T46" fmla="*/ 200 w 218"/>
                <a:gd name="T47" fmla="*/ 48 h 214"/>
                <a:gd name="T48" fmla="*/ 186 w 218"/>
                <a:gd name="T49" fmla="*/ 32 h 214"/>
                <a:gd name="T50" fmla="*/ 170 w 218"/>
                <a:gd name="T51" fmla="*/ 18 h 214"/>
                <a:gd name="T52" fmla="*/ 150 w 218"/>
                <a:gd name="T53" fmla="*/ 8 h 214"/>
                <a:gd name="T54" fmla="*/ 128 w 218"/>
                <a:gd name="T55" fmla="*/ 2 h 214"/>
                <a:gd name="T56" fmla="*/ 128 w 218"/>
                <a:gd name="T57" fmla="*/ 2 h 214"/>
                <a:gd name="T58" fmla="*/ 106 w 218"/>
                <a:gd name="T59" fmla="*/ 0 h 214"/>
                <a:gd name="T60" fmla="*/ 86 w 218"/>
                <a:gd name="T61" fmla="*/ 2 h 214"/>
                <a:gd name="T62" fmla="*/ 66 w 218"/>
                <a:gd name="T63" fmla="*/ 10 h 214"/>
                <a:gd name="T64" fmla="*/ 48 w 218"/>
                <a:gd name="T65" fmla="*/ 20 h 214"/>
                <a:gd name="T66" fmla="*/ 32 w 218"/>
                <a:gd name="T67" fmla="*/ 32 h 214"/>
                <a:gd name="T68" fmla="*/ 18 w 218"/>
                <a:gd name="T69" fmla="*/ 48 h 214"/>
                <a:gd name="T70" fmla="*/ 8 w 218"/>
                <a:gd name="T71" fmla="*/ 66 h 214"/>
                <a:gd name="T72" fmla="*/ 2 w 218"/>
                <a:gd name="T73" fmla="*/ 88 h 214"/>
                <a:gd name="T74" fmla="*/ 2 w 218"/>
                <a:gd name="T75" fmla="*/ 8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214">
                  <a:moveTo>
                    <a:pt x="2" y="88"/>
                  </a:moveTo>
                  <a:lnTo>
                    <a:pt x="2" y="88"/>
                  </a:lnTo>
                  <a:lnTo>
                    <a:pt x="0" y="110"/>
                  </a:lnTo>
                  <a:lnTo>
                    <a:pt x="2" y="130"/>
                  </a:lnTo>
                  <a:lnTo>
                    <a:pt x="10" y="150"/>
                  </a:lnTo>
                  <a:lnTo>
                    <a:pt x="20" y="168"/>
                  </a:lnTo>
                  <a:lnTo>
                    <a:pt x="34" y="184"/>
                  </a:lnTo>
                  <a:lnTo>
                    <a:pt x="50" y="196"/>
                  </a:lnTo>
                  <a:lnTo>
                    <a:pt x="68" y="206"/>
                  </a:lnTo>
                  <a:lnTo>
                    <a:pt x="90" y="212"/>
                  </a:lnTo>
                  <a:lnTo>
                    <a:pt x="90" y="212"/>
                  </a:lnTo>
                  <a:lnTo>
                    <a:pt x="112" y="214"/>
                  </a:lnTo>
                  <a:lnTo>
                    <a:pt x="134" y="212"/>
                  </a:lnTo>
                  <a:lnTo>
                    <a:pt x="154" y="206"/>
                  </a:lnTo>
                  <a:lnTo>
                    <a:pt x="172" y="196"/>
                  </a:lnTo>
                  <a:lnTo>
                    <a:pt x="188" y="182"/>
                  </a:lnTo>
                  <a:lnTo>
                    <a:pt x="202" y="166"/>
                  </a:lnTo>
                  <a:lnTo>
                    <a:pt x="212" y="148"/>
                  </a:lnTo>
                  <a:lnTo>
                    <a:pt x="218" y="128"/>
                  </a:lnTo>
                  <a:lnTo>
                    <a:pt x="218" y="128"/>
                  </a:lnTo>
                  <a:lnTo>
                    <a:pt x="218" y="106"/>
                  </a:lnTo>
                  <a:lnTo>
                    <a:pt x="216" y="84"/>
                  </a:lnTo>
                  <a:lnTo>
                    <a:pt x="210" y="64"/>
                  </a:lnTo>
                  <a:lnTo>
                    <a:pt x="200" y="48"/>
                  </a:lnTo>
                  <a:lnTo>
                    <a:pt x="186" y="32"/>
                  </a:lnTo>
                  <a:lnTo>
                    <a:pt x="170" y="18"/>
                  </a:lnTo>
                  <a:lnTo>
                    <a:pt x="150" y="8"/>
                  </a:lnTo>
                  <a:lnTo>
                    <a:pt x="128" y="2"/>
                  </a:lnTo>
                  <a:lnTo>
                    <a:pt x="128" y="2"/>
                  </a:lnTo>
                  <a:lnTo>
                    <a:pt x="106" y="0"/>
                  </a:lnTo>
                  <a:lnTo>
                    <a:pt x="86" y="2"/>
                  </a:lnTo>
                  <a:lnTo>
                    <a:pt x="66" y="10"/>
                  </a:lnTo>
                  <a:lnTo>
                    <a:pt x="48" y="20"/>
                  </a:lnTo>
                  <a:lnTo>
                    <a:pt x="32" y="32"/>
                  </a:lnTo>
                  <a:lnTo>
                    <a:pt x="18" y="48"/>
                  </a:lnTo>
                  <a:lnTo>
                    <a:pt x="8" y="66"/>
                  </a:lnTo>
                  <a:lnTo>
                    <a:pt x="2" y="88"/>
                  </a:lnTo>
                  <a:lnTo>
                    <a:pt x="2" y="88"/>
                  </a:lnTo>
                  <a:close/>
                </a:path>
              </a:pathLst>
            </a:custGeom>
            <a:solidFill>
              <a:srgbClr val="14246D"/>
            </a:solidFill>
            <a:ln>
              <a:noFill/>
            </a:ln>
          </p:spPr>
          <p:txBody>
            <a:bodyPr vert="horz" wrap="square" lIns="68580" tIns="34290" rIns="68580" bIns="34290" numCol="1" anchor="t" anchorCtr="0" compatLnSpc="1">
              <a:prstTxWarp prst="textNoShape">
                <a:avLst/>
              </a:prstTxWarp>
            </a:bodyPr>
            <a:lstStyle/>
            <a:p>
              <a:pPr defTabSz="884491"/>
              <a:endParaRPr lang="ru-RU" sz="1300">
                <a:solidFill>
                  <a:srgbClr val="414142"/>
                </a:solidFill>
              </a:endParaRPr>
            </a:p>
          </p:txBody>
        </p:sp>
        <p:sp>
          <p:nvSpPr>
            <p:cNvPr id="40" name="Freeform 26"/>
            <p:cNvSpPr>
              <a:spLocks/>
            </p:cNvSpPr>
            <p:nvPr/>
          </p:nvSpPr>
          <p:spPr bwMode="auto">
            <a:xfrm>
              <a:off x="908050" y="4672013"/>
              <a:ext cx="295275" cy="288925"/>
            </a:xfrm>
            <a:custGeom>
              <a:avLst/>
              <a:gdLst>
                <a:gd name="T0" fmla="*/ 0 w 186"/>
                <a:gd name="T1" fmla="*/ 74 h 182"/>
                <a:gd name="T2" fmla="*/ 0 w 186"/>
                <a:gd name="T3" fmla="*/ 74 h 182"/>
                <a:gd name="T4" fmla="*/ 0 w 186"/>
                <a:gd name="T5" fmla="*/ 92 h 182"/>
                <a:gd name="T6" fmla="*/ 2 w 186"/>
                <a:gd name="T7" fmla="*/ 110 h 182"/>
                <a:gd name="T8" fmla="*/ 8 w 186"/>
                <a:gd name="T9" fmla="*/ 126 h 182"/>
                <a:gd name="T10" fmla="*/ 16 w 186"/>
                <a:gd name="T11" fmla="*/ 142 h 182"/>
                <a:gd name="T12" fmla="*/ 28 w 186"/>
                <a:gd name="T13" fmla="*/ 154 h 182"/>
                <a:gd name="T14" fmla="*/ 42 w 186"/>
                <a:gd name="T15" fmla="*/ 166 h 182"/>
                <a:gd name="T16" fmla="*/ 58 w 186"/>
                <a:gd name="T17" fmla="*/ 174 h 182"/>
                <a:gd name="T18" fmla="*/ 76 w 186"/>
                <a:gd name="T19" fmla="*/ 180 h 182"/>
                <a:gd name="T20" fmla="*/ 76 w 186"/>
                <a:gd name="T21" fmla="*/ 180 h 182"/>
                <a:gd name="T22" fmla="*/ 96 w 186"/>
                <a:gd name="T23" fmla="*/ 182 h 182"/>
                <a:gd name="T24" fmla="*/ 114 w 186"/>
                <a:gd name="T25" fmla="*/ 180 h 182"/>
                <a:gd name="T26" fmla="*/ 130 w 186"/>
                <a:gd name="T27" fmla="*/ 174 h 182"/>
                <a:gd name="T28" fmla="*/ 146 w 186"/>
                <a:gd name="T29" fmla="*/ 166 h 182"/>
                <a:gd name="T30" fmla="*/ 160 w 186"/>
                <a:gd name="T31" fmla="*/ 154 h 182"/>
                <a:gd name="T32" fmla="*/ 170 w 186"/>
                <a:gd name="T33" fmla="*/ 140 h 182"/>
                <a:gd name="T34" fmla="*/ 180 w 186"/>
                <a:gd name="T35" fmla="*/ 124 h 182"/>
                <a:gd name="T36" fmla="*/ 184 w 186"/>
                <a:gd name="T37" fmla="*/ 108 h 182"/>
                <a:gd name="T38" fmla="*/ 184 w 186"/>
                <a:gd name="T39" fmla="*/ 108 h 182"/>
                <a:gd name="T40" fmla="*/ 186 w 186"/>
                <a:gd name="T41" fmla="*/ 88 h 182"/>
                <a:gd name="T42" fmla="*/ 184 w 186"/>
                <a:gd name="T43" fmla="*/ 72 h 182"/>
                <a:gd name="T44" fmla="*/ 178 w 186"/>
                <a:gd name="T45" fmla="*/ 54 h 182"/>
                <a:gd name="T46" fmla="*/ 170 w 186"/>
                <a:gd name="T47" fmla="*/ 40 h 182"/>
                <a:gd name="T48" fmla="*/ 158 w 186"/>
                <a:gd name="T49" fmla="*/ 26 h 182"/>
                <a:gd name="T50" fmla="*/ 144 w 186"/>
                <a:gd name="T51" fmla="*/ 14 h 182"/>
                <a:gd name="T52" fmla="*/ 128 w 186"/>
                <a:gd name="T53" fmla="*/ 6 h 182"/>
                <a:gd name="T54" fmla="*/ 110 w 186"/>
                <a:gd name="T55" fmla="*/ 0 h 182"/>
                <a:gd name="T56" fmla="*/ 110 w 186"/>
                <a:gd name="T57" fmla="*/ 0 h 182"/>
                <a:gd name="T58" fmla="*/ 90 w 186"/>
                <a:gd name="T59" fmla="*/ 0 h 182"/>
                <a:gd name="T60" fmla="*/ 72 w 186"/>
                <a:gd name="T61" fmla="*/ 2 h 182"/>
                <a:gd name="T62" fmla="*/ 56 w 186"/>
                <a:gd name="T63" fmla="*/ 6 h 182"/>
                <a:gd name="T64" fmla="*/ 40 w 186"/>
                <a:gd name="T65" fmla="*/ 16 h 182"/>
                <a:gd name="T66" fmla="*/ 26 w 186"/>
                <a:gd name="T67" fmla="*/ 26 h 182"/>
                <a:gd name="T68" fmla="*/ 14 w 186"/>
                <a:gd name="T69" fmla="*/ 40 h 182"/>
                <a:gd name="T70" fmla="*/ 6 w 186"/>
                <a:gd name="T71" fmla="*/ 56 h 182"/>
                <a:gd name="T72" fmla="*/ 0 w 186"/>
                <a:gd name="T73" fmla="*/ 74 h 182"/>
                <a:gd name="T74" fmla="*/ 0 w 186"/>
                <a:gd name="T75" fmla="*/ 74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6" h="182">
                  <a:moveTo>
                    <a:pt x="0" y="74"/>
                  </a:moveTo>
                  <a:lnTo>
                    <a:pt x="0" y="74"/>
                  </a:lnTo>
                  <a:lnTo>
                    <a:pt x="0" y="92"/>
                  </a:lnTo>
                  <a:lnTo>
                    <a:pt x="2" y="110"/>
                  </a:lnTo>
                  <a:lnTo>
                    <a:pt x="8" y="126"/>
                  </a:lnTo>
                  <a:lnTo>
                    <a:pt x="16" y="142"/>
                  </a:lnTo>
                  <a:lnTo>
                    <a:pt x="28" y="154"/>
                  </a:lnTo>
                  <a:lnTo>
                    <a:pt x="42" y="166"/>
                  </a:lnTo>
                  <a:lnTo>
                    <a:pt x="58" y="174"/>
                  </a:lnTo>
                  <a:lnTo>
                    <a:pt x="76" y="180"/>
                  </a:lnTo>
                  <a:lnTo>
                    <a:pt x="76" y="180"/>
                  </a:lnTo>
                  <a:lnTo>
                    <a:pt x="96" y="182"/>
                  </a:lnTo>
                  <a:lnTo>
                    <a:pt x="114" y="180"/>
                  </a:lnTo>
                  <a:lnTo>
                    <a:pt x="130" y="174"/>
                  </a:lnTo>
                  <a:lnTo>
                    <a:pt x="146" y="166"/>
                  </a:lnTo>
                  <a:lnTo>
                    <a:pt x="160" y="154"/>
                  </a:lnTo>
                  <a:lnTo>
                    <a:pt x="170" y="140"/>
                  </a:lnTo>
                  <a:lnTo>
                    <a:pt x="180" y="124"/>
                  </a:lnTo>
                  <a:lnTo>
                    <a:pt x="184" y="108"/>
                  </a:lnTo>
                  <a:lnTo>
                    <a:pt x="184" y="108"/>
                  </a:lnTo>
                  <a:lnTo>
                    <a:pt x="186" y="88"/>
                  </a:lnTo>
                  <a:lnTo>
                    <a:pt x="184" y="72"/>
                  </a:lnTo>
                  <a:lnTo>
                    <a:pt x="178" y="54"/>
                  </a:lnTo>
                  <a:lnTo>
                    <a:pt x="170" y="40"/>
                  </a:lnTo>
                  <a:lnTo>
                    <a:pt x="158" y="26"/>
                  </a:lnTo>
                  <a:lnTo>
                    <a:pt x="144" y="14"/>
                  </a:lnTo>
                  <a:lnTo>
                    <a:pt x="128" y="6"/>
                  </a:lnTo>
                  <a:lnTo>
                    <a:pt x="110" y="0"/>
                  </a:lnTo>
                  <a:lnTo>
                    <a:pt x="110" y="0"/>
                  </a:lnTo>
                  <a:lnTo>
                    <a:pt x="90" y="0"/>
                  </a:lnTo>
                  <a:lnTo>
                    <a:pt x="72" y="2"/>
                  </a:lnTo>
                  <a:lnTo>
                    <a:pt x="56" y="6"/>
                  </a:lnTo>
                  <a:lnTo>
                    <a:pt x="40" y="16"/>
                  </a:lnTo>
                  <a:lnTo>
                    <a:pt x="26" y="26"/>
                  </a:lnTo>
                  <a:lnTo>
                    <a:pt x="14" y="40"/>
                  </a:lnTo>
                  <a:lnTo>
                    <a:pt x="6" y="56"/>
                  </a:lnTo>
                  <a:lnTo>
                    <a:pt x="0" y="74"/>
                  </a:lnTo>
                  <a:lnTo>
                    <a:pt x="0" y="74"/>
                  </a:lnTo>
                  <a:close/>
                </a:path>
              </a:pathLst>
            </a:custGeom>
            <a:solidFill>
              <a:srgbClr val="14246D"/>
            </a:solidFill>
            <a:ln>
              <a:noFill/>
            </a:ln>
          </p:spPr>
          <p:txBody>
            <a:bodyPr vert="horz" wrap="square" lIns="68580" tIns="34290" rIns="68580" bIns="34290" numCol="1" anchor="t" anchorCtr="0" compatLnSpc="1">
              <a:prstTxWarp prst="textNoShape">
                <a:avLst/>
              </a:prstTxWarp>
            </a:bodyPr>
            <a:lstStyle/>
            <a:p>
              <a:pPr defTabSz="884491"/>
              <a:endParaRPr lang="ru-RU" sz="1300">
                <a:solidFill>
                  <a:srgbClr val="414142"/>
                </a:solidFill>
              </a:endParaRPr>
            </a:p>
          </p:txBody>
        </p:sp>
        <p:sp>
          <p:nvSpPr>
            <p:cNvPr id="41" name="Freeform 27"/>
            <p:cNvSpPr>
              <a:spLocks/>
            </p:cNvSpPr>
            <p:nvPr/>
          </p:nvSpPr>
          <p:spPr bwMode="auto">
            <a:xfrm>
              <a:off x="1206500" y="4579938"/>
              <a:ext cx="212725" cy="206375"/>
            </a:xfrm>
            <a:custGeom>
              <a:avLst/>
              <a:gdLst>
                <a:gd name="T0" fmla="*/ 2 w 134"/>
                <a:gd name="T1" fmla="*/ 52 h 130"/>
                <a:gd name="T2" fmla="*/ 2 w 134"/>
                <a:gd name="T3" fmla="*/ 52 h 130"/>
                <a:gd name="T4" fmla="*/ 0 w 134"/>
                <a:gd name="T5" fmla="*/ 66 h 130"/>
                <a:gd name="T6" fmla="*/ 2 w 134"/>
                <a:gd name="T7" fmla="*/ 78 h 130"/>
                <a:gd name="T8" fmla="*/ 6 w 134"/>
                <a:gd name="T9" fmla="*/ 90 h 130"/>
                <a:gd name="T10" fmla="*/ 12 w 134"/>
                <a:gd name="T11" fmla="*/ 100 h 130"/>
                <a:gd name="T12" fmla="*/ 20 w 134"/>
                <a:gd name="T13" fmla="*/ 110 h 130"/>
                <a:gd name="T14" fmla="*/ 32 w 134"/>
                <a:gd name="T15" fmla="*/ 118 h 130"/>
                <a:gd name="T16" fmla="*/ 42 w 134"/>
                <a:gd name="T17" fmla="*/ 124 h 130"/>
                <a:gd name="T18" fmla="*/ 56 w 134"/>
                <a:gd name="T19" fmla="*/ 128 h 130"/>
                <a:gd name="T20" fmla="*/ 56 w 134"/>
                <a:gd name="T21" fmla="*/ 128 h 130"/>
                <a:gd name="T22" fmla="*/ 70 w 134"/>
                <a:gd name="T23" fmla="*/ 130 h 130"/>
                <a:gd name="T24" fmla="*/ 82 w 134"/>
                <a:gd name="T25" fmla="*/ 128 h 130"/>
                <a:gd name="T26" fmla="*/ 94 w 134"/>
                <a:gd name="T27" fmla="*/ 124 h 130"/>
                <a:gd name="T28" fmla="*/ 106 w 134"/>
                <a:gd name="T29" fmla="*/ 118 h 130"/>
                <a:gd name="T30" fmla="*/ 116 w 134"/>
                <a:gd name="T31" fmla="*/ 110 h 130"/>
                <a:gd name="T32" fmla="*/ 124 w 134"/>
                <a:gd name="T33" fmla="*/ 100 h 130"/>
                <a:gd name="T34" fmla="*/ 130 w 134"/>
                <a:gd name="T35" fmla="*/ 88 h 130"/>
                <a:gd name="T36" fmla="*/ 132 w 134"/>
                <a:gd name="T37" fmla="*/ 76 h 130"/>
                <a:gd name="T38" fmla="*/ 132 w 134"/>
                <a:gd name="T39" fmla="*/ 76 h 130"/>
                <a:gd name="T40" fmla="*/ 134 w 134"/>
                <a:gd name="T41" fmla="*/ 64 h 130"/>
                <a:gd name="T42" fmla="*/ 132 w 134"/>
                <a:gd name="T43" fmla="*/ 50 h 130"/>
                <a:gd name="T44" fmla="*/ 128 w 134"/>
                <a:gd name="T45" fmla="*/ 38 h 130"/>
                <a:gd name="T46" fmla="*/ 122 w 134"/>
                <a:gd name="T47" fmla="*/ 28 h 130"/>
                <a:gd name="T48" fmla="*/ 114 w 134"/>
                <a:gd name="T49" fmla="*/ 18 h 130"/>
                <a:gd name="T50" fmla="*/ 104 w 134"/>
                <a:gd name="T51" fmla="*/ 10 h 130"/>
                <a:gd name="T52" fmla="*/ 92 w 134"/>
                <a:gd name="T53" fmla="*/ 4 h 130"/>
                <a:gd name="T54" fmla="*/ 78 w 134"/>
                <a:gd name="T55" fmla="*/ 0 h 130"/>
                <a:gd name="T56" fmla="*/ 78 w 134"/>
                <a:gd name="T57" fmla="*/ 0 h 130"/>
                <a:gd name="T58" fmla="*/ 66 w 134"/>
                <a:gd name="T59" fmla="*/ 0 h 130"/>
                <a:gd name="T60" fmla="*/ 52 w 134"/>
                <a:gd name="T61" fmla="*/ 0 h 130"/>
                <a:gd name="T62" fmla="*/ 40 w 134"/>
                <a:gd name="T63" fmla="*/ 4 h 130"/>
                <a:gd name="T64" fmla="*/ 30 w 134"/>
                <a:gd name="T65" fmla="*/ 10 h 130"/>
                <a:gd name="T66" fmla="*/ 20 w 134"/>
                <a:gd name="T67" fmla="*/ 18 h 130"/>
                <a:gd name="T68" fmla="*/ 12 w 134"/>
                <a:gd name="T69" fmla="*/ 28 h 130"/>
                <a:gd name="T70" fmla="*/ 6 w 134"/>
                <a:gd name="T71" fmla="*/ 40 h 130"/>
                <a:gd name="T72" fmla="*/ 2 w 134"/>
                <a:gd name="T73" fmla="*/ 52 h 130"/>
                <a:gd name="T74" fmla="*/ 2 w 134"/>
                <a:gd name="T75" fmla="*/ 5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0">
                  <a:moveTo>
                    <a:pt x="2" y="52"/>
                  </a:moveTo>
                  <a:lnTo>
                    <a:pt x="2" y="52"/>
                  </a:lnTo>
                  <a:lnTo>
                    <a:pt x="0" y="66"/>
                  </a:lnTo>
                  <a:lnTo>
                    <a:pt x="2" y="78"/>
                  </a:lnTo>
                  <a:lnTo>
                    <a:pt x="6" y="90"/>
                  </a:lnTo>
                  <a:lnTo>
                    <a:pt x="12" y="100"/>
                  </a:lnTo>
                  <a:lnTo>
                    <a:pt x="20" y="110"/>
                  </a:lnTo>
                  <a:lnTo>
                    <a:pt x="32" y="118"/>
                  </a:lnTo>
                  <a:lnTo>
                    <a:pt x="42" y="124"/>
                  </a:lnTo>
                  <a:lnTo>
                    <a:pt x="56" y="128"/>
                  </a:lnTo>
                  <a:lnTo>
                    <a:pt x="56" y="128"/>
                  </a:lnTo>
                  <a:lnTo>
                    <a:pt x="70" y="130"/>
                  </a:lnTo>
                  <a:lnTo>
                    <a:pt x="82" y="128"/>
                  </a:lnTo>
                  <a:lnTo>
                    <a:pt x="94" y="124"/>
                  </a:lnTo>
                  <a:lnTo>
                    <a:pt x="106" y="118"/>
                  </a:lnTo>
                  <a:lnTo>
                    <a:pt x="116" y="110"/>
                  </a:lnTo>
                  <a:lnTo>
                    <a:pt x="124" y="100"/>
                  </a:lnTo>
                  <a:lnTo>
                    <a:pt x="130" y="88"/>
                  </a:lnTo>
                  <a:lnTo>
                    <a:pt x="132" y="76"/>
                  </a:lnTo>
                  <a:lnTo>
                    <a:pt x="132" y="76"/>
                  </a:lnTo>
                  <a:lnTo>
                    <a:pt x="134" y="64"/>
                  </a:lnTo>
                  <a:lnTo>
                    <a:pt x="132" y="50"/>
                  </a:lnTo>
                  <a:lnTo>
                    <a:pt x="128" y="38"/>
                  </a:lnTo>
                  <a:lnTo>
                    <a:pt x="122" y="28"/>
                  </a:lnTo>
                  <a:lnTo>
                    <a:pt x="114" y="18"/>
                  </a:lnTo>
                  <a:lnTo>
                    <a:pt x="104" y="10"/>
                  </a:lnTo>
                  <a:lnTo>
                    <a:pt x="92" y="4"/>
                  </a:lnTo>
                  <a:lnTo>
                    <a:pt x="78" y="0"/>
                  </a:lnTo>
                  <a:lnTo>
                    <a:pt x="78" y="0"/>
                  </a:lnTo>
                  <a:lnTo>
                    <a:pt x="66" y="0"/>
                  </a:lnTo>
                  <a:lnTo>
                    <a:pt x="52" y="0"/>
                  </a:lnTo>
                  <a:lnTo>
                    <a:pt x="40" y="4"/>
                  </a:lnTo>
                  <a:lnTo>
                    <a:pt x="30" y="10"/>
                  </a:lnTo>
                  <a:lnTo>
                    <a:pt x="20" y="18"/>
                  </a:lnTo>
                  <a:lnTo>
                    <a:pt x="12" y="28"/>
                  </a:lnTo>
                  <a:lnTo>
                    <a:pt x="6" y="40"/>
                  </a:lnTo>
                  <a:lnTo>
                    <a:pt x="2" y="52"/>
                  </a:lnTo>
                  <a:lnTo>
                    <a:pt x="2" y="52"/>
                  </a:lnTo>
                  <a:close/>
                </a:path>
              </a:pathLst>
            </a:custGeom>
            <a:solidFill>
              <a:srgbClr val="14246D"/>
            </a:solidFill>
            <a:ln>
              <a:noFill/>
            </a:ln>
          </p:spPr>
          <p:txBody>
            <a:bodyPr vert="horz" wrap="square" lIns="68580" tIns="34290" rIns="68580" bIns="34290" numCol="1" anchor="t" anchorCtr="0" compatLnSpc="1">
              <a:prstTxWarp prst="textNoShape">
                <a:avLst/>
              </a:prstTxWarp>
            </a:bodyPr>
            <a:lstStyle/>
            <a:p>
              <a:pPr defTabSz="884491"/>
              <a:endParaRPr lang="ru-RU" sz="1300">
                <a:solidFill>
                  <a:srgbClr val="414142"/>
                </a:solidFill>
              </a:endParaRPr>
            </a:p>
          </p:txBody>
        </p:sp>
        <p:sp>
          <p:nvSpPr>
            <p:cNvPr id="42" name="Freeform 28"/>
            <p:cNvSpPr>
              <a:spLocks/>
            </p:cNvSpPr>
            <p:nvPr/>
          </p:nvSpPr>
          <p:spPr bwMode="auto">
            <a:xfrm>
              <a:off x="1419225" y="4741863"/>
              <a:ext cx="209550" cy="206375"/>
            </a:xfrm>
            <a:custGeom>
              <a:avLst/>
              <a:gdLst>
                <a:gd name="T0" fmla="*/ 0 w 132"/>
                <a:gd name="T1" fmla="*/ 52 h 130"/>
                <a:gd name="T2" fmla="*/ 0 w 132"/>
                <a:gd name="T3" fmla="*/ 52 h 130"/>
                <a:gd name="T4" fmla="*/ 0 w 132"/>
                <a:gd name="T5" fmla="*/ 66 h 130"/>
                <a:gd name="T6" fmla="*/ 2 w 132"/>
                <a:gd name="T7" fmla="*/ 78 h 130"/>
                <a:gd name="T8" fmla="*/ 6 w 132"/>
                <a:gd name="T9" fmla="*/ 90 h 130"/>
                <a:gd name="T10" fmla="*/ 12 w 132"/>
                <a:gd name="T11" fmla="*/ 100 h 130"/>
                <a:gd name="T12" fmla="*/ 20 w 132"/>
                <a:gd name="T13" fmla="*/ 110 h 130"/>
                <a:gd name="T14" fmla="*/ 30 w 132"/>
                <a:gd name="T15" fmla="*/ 118 h 130"/>
                <a:gd name="T16" fmla="*/ 42 w 132"/>
                <a:gd name="T17" fmla="*/ 124 h 130"/>
                <a:gd name="T18" fmla="*/ 54 w 132"/>
                <a:gd name="T19" fmla="*/ 128 h 130"/>
                <a:gd name="T20" fmla="*/ 54 w 132"/>
                <a:gd name="T21" fmla="*/ 128 h 130"/>
                <a:gd name="T22" fmla="*/ 68 w 132"/>
                <a:gd name="T23" fmla="*/ 130 h 130"/>
                <a:gd name="T24" fmla="*/ 80 w 132"/>
                <a:gd name="T25" fmla="*/ 128 h 130"/>
                <a:gd name="T26" fmla="*/ 94 w 132"/>
                <a:gd name="T27" fmla="*/ 124 h 130"/>
                <a:gd name="T28" fmla="*/ 104 w 132"/>
                <a:gd name="T29" fmla="*/ 118 h 130"/>
                <a:gd name="T30" fmla="*/ 114 w 132"/>
                <a:gd name="T31" fmla="*/ 110 h 130"/>
                <a:gd name="T32" fmla="*/ 122 w 132"/>
                <a:gd name="T33" fmla="*/ 100 h 130"/>
                <a:gd name="T34" fmla="*/ 128 w 132"/>
                <a:gd name="T35" fmla="*/ 88 h 130"/>
                <a:gd name="T36" fmla="*/ 132 w 132"/>
                <a:gd name="T37" fmla="*/ 76 h 130"/>
                <a:gd name="T38" fmla="*/ 132 w 132"/>
                <a:gd name="T39" fmla="*/ 76 h 130"/>
                <a:gd name="T40" fmla="*/ 132 w 132"/>
                <a:gd name="T41" fmla="*/ 64 h 130"/>
                <a:gd name="T42" fmla="*/ 132 w 132"/>
                <a:gd name="T43" fmla="*/ 50 h 130"/>
                <a:gd name="T44" fmla="*/ 126 w 132"/>
                <a:gd name="T45" fmla="*/ 38 h 130"/>
                <a:gd name="T46" fmla="*/ 120 w 132"/>
                <a:gd name="T47" fmla="*/ 28 h 130"/>
                <a:gd name="T48" fmla="*/ 112 w 132"/>
                <a:gd name="T49" fmla="*/ 18 h 130"/>
                <a:gd name="T50" fmla="*/ 102 w 132"/>
                <a:gd name="T51" fmla="*/ 10 h 130"/>
                <a:gd name="T52" fmla="*/ 90 w 132"/>
                <a:gd name="T53" fmla="*/ 4 h 130"/>
                <a:gd name="T54" fmla="*/ 78 w 132"/>
                <a:gd name="T55" fmla="*/ 0 h 130"/>
                <a:gd name="T56" fmla="*/ 78 w 132"/>
                <a:gd name="T57" fmla="*/ 0 h 130"/>
                <a:gd name="T58" fmla="*/ 64 w 132"/>
                <a:gd name="T59" fmla="*/ 0 h 130"/>
                <a:gd name="T60" fmla="*/ 52 w 132"/>
                <a:gd name="T61" fmla="*/ 0 h 130"/>
                <a:gd name="T62" fmla="*/ 40 w 132"/>
                <a:gd name="T63" fmla="*/ 4 h 130"/>
                <a:gd name="T64" fmla="*/ 28 w 132"/>
                <a:gd name="T65" fmla="*/ 10 h 130"/>
                <a:gd name="T66" fmla="*/ 18 w 132"/>
                <a:gd name="T67" fmla="*/ 18 h 130"/>
                <a:gd name="T68" fmla="*/ 10 w 132"/>
                <a:gd name="T69" fmla="*/ 28 h 130"/>
                <a:gd name="T70" fmla="*/ 4 w 132"/>
                <a:gd name="T71" fmla="*/ 40 h 130"/>
                <a:gd name="T72" fmla="*/ 0 w 132"/>
                <a:gd name="T73" fmla="*/ 52 h 130"/>
                <a:gd name="T74" fmla="*/ 0 w 132"/>
                <a:gd name="T75" fmla="*/ 5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 h="130">
                  <a:moveTo>
                    <a:pt x="0" y="52"/>
                  </a:moveTo>
                  <a:lnTo>
                    <a:pt x="0" y="52"/>
                  </a:lnTo>
                  <a:lnTo>
                    <a:pt x="0" y="66"/>
                  </a:lnTo>
                  <a:lnTo>
                    <a:pt x="2" y="78"/>
                  </a:lnTo>
                  <a:lnTo>
                    <a:pt x="6" y="90"/>
                  </a:lnTo>
                  <a:lnTo>
                    <a:pt x="12" y="100"/>
                  </a:lnTo>
                  <a:lnTo>
                    <a:pt x="20" y="110"/>
                  </a:lnTo>
                  <a:lnTo>
                    <a:pt x="30" y="118"/>
                  </a:lnTo>
                  <a:lnTo>
                    <a:pt x="42" y="124"/>
                  </a:lnTo>
                  <a:lnTo>
                    <a:pt x="54" y="128"/>
                  </a:lnTo>
                  <a:lnTo>
                    <a:pt x="54" y="128"/>
                  </a:lnTo>
                  <a:lnTo>
                    <a:pt x="68" y="130"/>
                  </a:lnTo>
                  <a:lnTo>
                    <a:pt x="80" y="128"/>
                  </a:lnTo>
                  <a:lnTo>
                    <a:pt x="94" y="124"/>
                  </a:lnTo>
                  <a:lnTo>
                    <a:pt x="104" y="118"/>
                  </a:lnTo>
                  <a:lnTo>
                    <a:pt x="114" y="110"/>
                  </a:lnTo>
                  <a:lnTo>
                    <a:pt x="122" y="100"/>
                  </a:lnTo>
                  <a:lnTo>
                    <a:pt x="128" y="88"/>
                  </a:lnTo>
                  <a:lnTo>
                    <a:pt x="132" y="76"/>
                  </a:lnTo>
                  <a:lnTo>
                    <a:pt x="132" y="76"/>
                  </a:lnTo>
                  <a:lnTo>
                    <a:pt x="132" y="64"/>
                  </a:lnTo>
                  <a:lnTo>
                    <a:pt x="132" y="50"/>
                  </a:lnTo>
                  <a:lnTo>
                    <a:pt x="126" y="38"/>
                  </a:lnTo>
                  <a:lnTo>
                    <a:pt x="120" y="28"/>
                  </a:lnTo>
                  <a:lnTo>
                    <a:pt x="112" y="18"/>
                  </a:lnTo>
                  <a:lnTo>
                    <a:pt x="102" y="10"/>
                  </a:lnTo>
                  <a:lnTo>
                    <a:pt x="90" y="4"/>
                  </a:lnTo>
                  <a:lnTo>
                    <a:pt x="78" y="0"/>
                  </a:lnTo>
                  <a:lnTo>
                    <a:pt x="78" y="0"/>
                  </a:lnTo>
                  <a:lnTo>
                    <a:pt x="64" y="0"/>
                  </a:lnTo>
                  <a:lnTo>
                    <a:pt x="52" y="0"/>
                  </a:lnTo>
                  <a:lnTo>
                    <a:pt x="40" y="4"/>
                  </a:lnTo>
                  <a:lnTo>
                    <a:pt x="28" y="10"/>
                  </a:lnTo>
                  <a:lnTo>
                    <a:pt x="18" y="18"/>
                  </a:lnTo>
                  <a:lnTo>
                    <a:pt x="10" y="28"/>
                  </a:lnTo>
                  <a:lnTo>
                    <a:pt x="4" y="40"/>
                  </a:lnTo>
                  <a:lnTo>
                    <a:pt x="0" y="52"/>
                  </a:lnTo>
                  <a:lnTo>
                    <a:pt x="0" y="52"/>
                  </a:lnTo>
                  <a:close/>
                </a:path>
              </a:pathLst>
            </a:custGeom>
            <a:solidFill>
              <a:srgbClr val="14246D"/>
            </a:solidFill>
            <a:ln>
              <a:noFill/>
            </a:ln>
          </p:spPr>
          <p:txBody>
            <a:bodyPr vert="horz" wrap="square" lIns="68580" tIns="34290" rIns="68580" bIns="34290" numCol="1" anchor="t" anchorCtr="0" compatLnSpc="1">
              <a:prstTxWarp prst="textNoShape">
                <a:avLst/>
              </a:prstTxWarp>
            </a:bodyPr>
            <a:lstStyle/>
            <a:p>
              <a:pPr defTabSz="884491"/>
              <a:endParaRPr lang="ru-RU" sz="1300">
                <a:solidFill>
                  <a:srgbClr val="414142"/>
                </a:solidFill>
              </a:endParaRPr>
            </a:p>
          </p:txBody>
        </p:sp>
        <p:sp>
          <p:nvSpPr>
            <p:cNvPr id="43" name="Freeform 29"/>
            <p:cNvSpPr>
              <a:spLocks/>
            </p:cNvSpPr>
            <p:nvPr/>
          </p:nvSpPr>
          <p:spPr bwMode="auto">
            <a:xfrm>
              <a:off x="568325" y="4694238"/>
              <a:ext cx="307975" cy="298450"/>
            </a:xfrm>
            <a:custGeom>
              <a:avLst/>
              <a:gdLst>
                <a:gd name="T0" fmla="*/ 2 w 194"/>
                <a:gd name="T1" fmla="*/ 76 h 188"/>
                <a:gd name="T2" fmla="*/ 2 w 194"/>
                <a:gd name="T3" fmla="*/ 76 h 188"/>
                <a:gd name="T4" fmla="*/ 0 w 194"/>
                <a:gd name="T5" fmla="*/ 96 h 188"/>
                <a:gd name="T6" fmla="*/ 2 w 194"/>
                <a:gd name="T7" fmla="*/ 114 h 188"/>
                <a:gd name="T8" fmla="*/ 8 w 194"/>
                <a:gd name="T9" fmla="*/ 132 h 188"/>
                <a:gd name="T10" fmla="*/ 18 w 194"/>
                <a:gd name="T11" fmla="*/ 148 h 188"/>
                <a:gd name="T12" fmla="*/ 30 w 194"/>
                <a:gd name="T13" fmla="*/ 162 h 188"/>
                <a:gd name="T14" fmla="*/ 44 w 194"/>
                <a:gd name="T15" fmla="*/ 172 h 188"/>
                <a:gd name="T16" fmla="*/ 62 w 194"/>
                <a:gd name="T17" fmla="*/ 182 h 188"/>
                <a:gd name="T18" fmla="*/ 80 w 194"/>
                <a:gd name="T19" fmla="*/ 186 h 188"/>
                <a:gd name="T20" fmla="*/ 80 w 194"/>
                <a:gd name="T21" fmla="*/ 186 h 188"/>
                <a:gd name="T22" fmla="*/ 100 w 194"/>
                <a:gd name="T23" fmla="*/ 188 h 188"/>
                <a:gd name="T24" fmla="*/ 118 w 194"/>
                <a:gd name="T25" fmla="*/ 186 h 188"/>
                <a:gd name="T26" fmla="*/ 136 w 194"/>
                <a:gd name="T27" fmla="*/ 180 h 188"/>
                <a:gd name="T28" fmla="*/ 152 w 194"/>
                <a:gd name="T29" fmla="*/ 172 h 188"/>
                <a:gd name="T30" fmla="*/ 166 w 194"/>
                <a:gd name="T31" fmla="*/ 160 h 188"/>
                <a:gd name="T32" fmla="*/ 178 w 194"/>
                <a:gd name="T33" fmla="*/ 146 h 188"/>
                <a:gd name="T34" fmla="*/ 186 w 194"/>
                <a:gd name="T35" fmla="*/ 130 h 188"/>
                <a:gd name="T36" fmla="*/ 192 w 194"/>
                <a:gd name="T37" fmla="*/ 112 h 188"/>
                <a:gd name="T38" fmla="*/ 192 w 194"/>
                <a:gd name="T39" fmla="*/ 112 h 188"/>
                <a:gd name="T40" fmla="*/ 194 w 194"/>
                <a:gd name="T41" fmla="*/ 92 h 188"/>
                <a:gd name="T42" fmla="*/ 192 w 194"/>
                <a:gd name="T43" fmla="*/ 74 h 188"/>
                <a:gd name="T44" fmla="*/ 186 w 194"/>
                <a:gd name="T45" fmla="*/ 58 h 188"/>
                <a:gd name="T46" fmla="*/ 176 w 194"/>
                <a:gd name="T47" fmla="*/ 42 h 188"/>
                <a:gd name="T48" fmla="*/ 164 w 194"/>
                <a:gd name="T49" fmla="*/ 28 h 188"/>
                <a:gd name="T50" fmla="*/ 150 w 194"/>
                <a:gd name="T51" fmla="*/ 16 h 188"/>
                <a:gd name="T52" fmla="*/ 132 w 194"/>
                <a:gd name="T53" fmla="*/ 8 h 188"/>
                <a:gd name="T54" fmla="*/ 114 w 194"/>
                <a:gd name="T55" fmla="*/ 2 h 188"/>
                <a:gd name="T56" fmla="*/ 114 w 194"/>
                <a:gd name="T57" fmla="*/ 2 h 188"/>
                <a:gd name="T58" fmla="*/ 94 w 194"/>
                <a:gd name="T59" fmla="*/ 0 h 188"/>
                <a:gd name="T60" fmla="*/ 76 w 194"/>
                <a:gd name="T61" fmla="*/ 2 h 188"/>
                <a:gd name="T62" fmla="*/ 58 w 194"/>
                <a:gd name="T63" fmla="*/ 8 h 188"/>
                <a:gd name="T64" fmla="*/ 42 w 194"/>
                <a:gd name="T65" fmla="*/ 16 h 188"/>
                <a:gd name="T66" fmla="*/ 28 w 194"/>
                <a:gd name="T67" fmla="*/ 28 h 188"/>
                <a:gd name="T68" fmla="*/ 16 w 194"/>
                <a:gd name="T69" fmla="*/ 42 h 188"/>
                <a:gd name="T70" fmla="*/ 8 w 194"/>
                <a:gd name="T71" fmla="*/ 58 h 188"/>
                <a:gd name="T72" fmla="*/ 2 w 194"/>
                <a:gd name="T73" fmla="*/ 76 h 188"/>
                <a:gd name="T74" fmla="*/ 2 w 194"/>
                <a:gd name="T75" fmla="*/ 7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4" h="188">
                  <a:moveTo>
                    <a:pt x="2" y="76"/>
                  </a:moveTo>
                  <a:lnTo>
                    <a:pt x="2" y="76"/>
                  </a:lnTo>
                  <a:lnTo>
                    <a:pt x="0" y="96"/>
                  </a:lnTo>
                  <a:lnTo>
                    <a:pt x="2" y="114"/>
                  </a:lnTo>
                  <a:lnTo>
                    <a:pt x="8" y="132"/>
                  </a:lnTo>
                  <a:lnTo>
                    <a:pt x="18" y="148"/>
                  </a:lnTo>
                  <a:lnTo>
                    <a:pt x="30" y="162"/>
                  </a:lnTo>
                  <a:lnTo>
                    <a:pt x="44" y="172"/>
                  </a:lnTo>
                  <a:lnTo>
                    <a:pt x="62" y="182"/>
                  </a:lnTo>
                  <a:lnTo>
                    <a:pt x="80" y="186"/>
                  </a:lnTo>
                  <a:lnTo>
                    <a:pt x="80" y="186"/>
                  </a:lnTo>
                  <a:lnTo>
                    <a:pt x="100" y="188"/>
                  </a:lnTo>
                  <a:lnTo>
                    <a:pt x="118" y="186"/>
                  </a:lnTo>
                  <a:lnTo>
                    <a:pt x="136" y="180"/>
                  </a:lnTo>
                  <a:lnTo>
                    <a:pt x="152" y="172"/>
                  </a:lnTo>
                  <a:lnTo>
                    <a:pt x="166" y="160"/>
                  </a:lnTo>
                  <a:lnTo>
                    <a:pt x="178" y="146"/>
                  </a:lnTo>
                  <a:lnTo>
                    <a:pt x="186" y="130"/>
                  </a:lnTo>
                  <a:lnTo>
                    <a:pt x="192" y="112"/>
                  </a:lnTo>
                  <a:lnTo>
                    <a:pt x="192" y="112"/>
                  </a:lnTo>
                  <a:lnTo>
                    <a:pt x="194" y="92"/>
                  </a:lnTo>
                  <a:lnTo>
                    <a:pt x="192" y="74"/>
                  </a:lnTo>
                  <a:lnTo>
                    <a:pt x="186" y="58"/>
                  </a:lnTo>
                  <a:lnTo>
                    <a:pt x="176" y="42"/>
                  </a:lnTo>
                  <a:lnTo>
                    <a:pt x="164" y="28"/>
                  </a:lnTo>
                  <a:lnTo>
                    <a:pt x="150" y="16"/>
                  </a:lnTo>
                  <a:lnTo>
                    <a:pt x="132" y="8"/>
                  </a:lnTo>
                  <a:lnTo>
                    <a:pt x="114" y="2"/>
                  </a:lnTo>
                  <a:lnTo>
                    <a:pt x="114" y="2"/>
                  </a:lnTo>
                  <a:lnTo>
                    <a:pt x="94" y="0"/>
                  </a:lnTo>
                  <a:lnTo>
                    <a:pt x="76" y="2"/>
                  </a:lnTo>
                  <a:lnTo>
                    <a:pt x="58" y="8"/>
                  </a:lnTo>
                  <a:lnTo>
                    <a:pt x="42" y="16"/>
                  </a:lnTo>
                  <a:lnTo>
                    <a:pt x="28" y="28"/>
                  </a:lnTo>
                  <a:lnTo>
                    <a:pt x="16" y="42"/>
                  </a:lnTo>
                  <a:lnTo>
                    <a:pt x="8" y="58"/>
                  </a:lnTo>
                  <a:lnTo>
                    <a:pt x="2" y="76"/>
                  </a:lnTo>
                  <a:lnTo>
                    <a:pt x="2" y="76"/>
                  </a:lnTo>
                  <a:close/>
                </a:path>
              </a:pathLst>
            </a:custGeom>
            <a:solidFill>
              <a:srgbClr val="14246D"/>
            </a:solidFill>
            <a:ln>
              <a:noFill/>
            </a:ln>
          </p:spPr>
          <p:txBody>
            <a:bodyPr vert="horz" wrap="square" lIns="68580" tIns="34290" rIns="68580" bIns="34290" numCol="1" anchor="t" anchorCtr="0" compatLnSpc="1">
              <a:prstTxWarp prst="textNoShape">
                <a:avLst/>
              </a:prstTxWarp>
            </a:bodyPr>
            <a:lstStyle/>
            <a:p>
              <a:pPr defTabSz="884491"/>
              <a:endParaRPr lang="ru-RU" sz="1300">
                <a:solidFill>
                  <a:srgbClr val="414142"/>
                </a:solidFill>
              </a:endParaRPr>
            </a:p>
          </p:txBody>
        </p:sp>
        <p:sp>
          <p:nvSpPr>
            <p:cNvPr id="44" name="Freeform 30"/>
            <p:cNvSpPr>
              <a:spLocks/>
            </p:cNvSpPr>
            <p:nvPr/>
          </p:nvSpPr>
          <p:spPr bwMode="auto">
            <a:xfrm>
              <a:off x="374650" y="4979988"/>
              <a:ext cx="349250" cy="339725"/>
            </a:xfrm>
            <a:custGeom>
              <a:avLst/>
              <a:gdLst>
                <a:gd name="T0" fmla="*/ 2 w 220"/>
                <a:gd name="T1" fmla="*/ 88 h 214"/>
                <a:gd name="T2" fmla="*/ 2 w 220"/>
                <a:gd name="T3" fmla="*/ 88 h 214"/>
                <a:gd name="T4" fmla="*/ 0 w 220"/>
                <a:gd name="T5" fmla="*/ 108 h 214"/>
                <a:gd name="T6" fmla="*/ 2 w 220"/>
                <a:gd name="T7" fmla="*/ 130 h 214"/>
                <a:gd name="T8" fmla="*/ 10 w 220"/>
                <a:gd name="T9" fmla="*/ 150 h 214"/>
                <a:gd name="T10" fmla="*/ 20 w 220"/>
                <a:gd name="T11" fmla="*/ 168 h 214"/>
                <a:gd name="T12" fmla="*/ 34 w 220"/>
                <a:gd name="T13" fmla="*/ 184 h 214"/>
                <a:gd name="T14" fmla="*/ 50 w 220"/>
                <a:gd name="T15" fmla="*/ 196 h 214"/>
                <a:gd name="T16" fmla="*/ 70 w 220"/>
                <a:gd name="T17" fmla="*/ 206 h 214"/>
                <a:gd name="T18" fmla="*/ 90 w 220"/>
                <a:gd name="T19" fmla="*/ 212 h 214"/>
                <a:gd name="T20" fmla="*/ 90 w 220"/>
                <a:gd name="T21" fmla="*/ 212 h 214"/>
                <a:gd name="T22" fmla="*/ 112 w 220"/>
                <a:gd name="T23" fmla="*/ 214 h 214"/>
                <a:gd name="T24" fmla="*/ 134 w 220"/>
                <a:gd name="T25" fmla="*/ 212 h 214"/>
                <a:gd name="T26" fmla="*/ 154 w 220"/>
                <a:gd name="T27" fmla="*/ 206 h 214"/>
                <a:gd name="T28" fmla="*/ 172 w 220"/>
                <a:gd name="T29" fmla="*/ 196 h 214"/>
                <a:gd name="T30" fmla="*/ 188 w 220"/>
                <a:gd name="T31" fmla="*/ 182 h 214"/>
                <a:gd name="T32" fmla="*/ 202 w 220"/>
                <a:gd name="T33" fmla="*/ 166 h 214"/>
                <a:gd name="T34" fmla="*/ 212 w 220"/>
                <a:gd name="T35" fmla="*/ 148 h 214"/>
                <a:gd name="T36" fmla="*/ 218 w 220"/>
                <a:gd name="T37" fmla="*/ 126 h 214"/>
                <a:gd name="T38" fmla="*/ 218 w 220"/>
                <a:gd name="T39" fmla="*/ 126 h 214"/>
                <a:gd name="T40" fmla="*/ 220 w 220"/>
                <a:gd name="T41" fmla="*/ 106 h 214"/>
                <a:gd name="T42" fmla="*/ 216 w 220"/>
                <a:gd name="T43" fmla="*/ 84 h 214"/>
                <a:gd name="T44" fmla="*/ 210 w 220"/>
                <a:gd name="T45" fmla="*/ 64 h 214"/>
                <a:gd name="T46" fmla="*/ 200 w 220"/>
                <a:gd name="T47" fmla="*/ 48 h 214"/>
                <a:gd name="T48" fmla="*/ 186 w 220"/>
                <a:gd name="T49" fmla="*/ 32 h 214"/>
                <a:gd name="T50" fmla="*/ 170 w 220"/>
                <a:gd name="T51" fmla="*/ 18 h 214"/>
                <a:gd name="T52" fmla="*/ 150 w 220"/>
                <a:gd name="T53" fmla="*/ 8 h 214"/>
                <a:gd name="T54" fmla="*/ 128 w 220"/>
                <a:gd name="T55" fmla="*/ 2 h 214"/>
                <a:gd name="T56" fmla="*/ 128 w 220"/>
                <a:gd name="T57" fmla="*/ 2 h 214"/>
                <a:gd name="T58" fmla="*/ 106 w 220"/>
                <a:gd name="T59" fmla="*/ 0 h 214"/>
                <a:gd name="T60" fmla="*/ 86 w 220"/>
                <a:gd name="T61" fmla="*/ 2 h 214"/>
                <a:gd name="T62" fmla="*/ 66 w 220"/>
                <a:gd name="T63" fmla="*/ 10 h 214"/>
                <a:gd name="T64" fmla="*/ 48 w 220"/>
                <a:gd name="T65" fmla="*/ 20 h 214"/>
                <a:gd name="T66" fmla="*/ 32 w 220"/>
                <a:gd name="T67" fmla="*/ 32 h 214"/>
                <a:gd name="T68" fmla="*/ 18 w 220"/>
                <a:gd name="T69" fmla="*/ 48 h 214"/>
                <a:gd name="T70" fmla="*/ 8 w 220"/>
                <a:gd name="T71" fmla="*/ 66 h 214"/>
                <a:gd name="T72" fmla="*/ 2 w 220"/>
                <a:gd name="T73" fmla="*/ 88 h 214"/>
                <a:gd name="T74" fmla="*/ 2 w 220"/>
                <a:gd name="T75" fmla="*/ 8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0" h="214">
                  <a:moveTo>
                    <a:pt x="2" y="88"/>
                  </a:moveTo>
                  <a:lnTo>
                    <a:pt x="2" y="88"/>
                  </a:lnTo>
                  <a:lnTo>
                    <a:pt x="0" y="108"/>
                  </a:lnTo>
                  <a:lnTo>
                    <a:pt x="2" y="130"/>
                  </a:lnTo>
                  <a:lnTo>
                    <a:pt x="10" y="150"/>
                  </a:lnTo>
                  <a:lnTo>
                    <a:pt x="20" y="168"/>
                  </a:lnTo>
                  <a:lnTo>
                    <a:pt x="34" y="184"/>
                  </a:lnTo>
                  <a:lnTo>
                    <a:pt x="50" y="196"/>
                  </a:lnTo>
                  <a:lnTo>
                    <a:pt x="70" y="206"/>
                  </a:lnTo>
                  <a:lnTo>
                    <a:pt x="90" y="212"/>
                  </a:lnTo>
                  <a:lnTo>
                    <a:pt x="90" y="212"/>
                  </a:lnTo>
                  <a:lnTo>
                    <a:pt x="112" y="214"/>
                  </a:lnTo>
                  <a:lnTo>
                    <a:pt x="134" y="212"/>
                  </a:lnTo>
                  <a:lnTo>
                    <a:pt x="154" y="206"/>
                  </a:lnTo>
                  <a:lnTo>
                    <a:pt x="172" y="196"/>
                  </a:lnTo>
                  <a:lnTo>
                    <a:pt x="188" y="182"/>
                  </a:lnTo>
                  <a:lnTo>
                    <a:pt x="202" y="166"/>
                  </a:lnTo>
                  <a:lnTo>
                    <a:pt x="212" y="148"/>
                  </a:lnTo>
                  <a:lnTo>
                    <a:pt x="218" y="126"/>
                  </a:lnTo>
                  <a:lnTo>
                    <a:pt x="218" y="126"/>
                  </a:lnTo>
                  <a:lnTo>
                    <a:pt x="220" y="106"/>
                  </a:lnTo>
                  <a:lnTo>
                    <a:pt x="216" y="84"/>
                  </a:lnTo>
                  <a:lnTo>
                    <a:pt x="210" y="64"/>
                  </a:lnTo>
                  <a:lnTo>
                    <a:pt x="200" y="48"/>
                  </a:lnTo>
                  <a:lnTo>
                    <a:pt x="186" y="32"/>
                  </a:lnTo>
                  <a:lnTo>
                    <a:pt x="170" y="18"/>
                  </a:lnTo>
                  <a:lnTo>
                    <a:pt x="150" y="8"/>
                  </a:lnTo>
                  <a:lnTo>
                    <a:pt x="128" y="2"/>
                  </a:lnTo>
                  <a:lnTo>
                    <a:pt x="128" y="2"/>
                  </a:lnTo>
                  <a:lnTo>
                    <a:pt x="106" y="0"/>
                  </a:lnTo>
                  <a:lnTo>
                    <a:pt x="86" y="2"/>
                  </a:lnTo>
                  <a:lnTo>
                    <a:pt x="66" y="10"/>
                  </a:lnTo>
                  <a:lnTo>
                    <a:pt x="48" y="20"/>
                  </a:lnTo>
                  <a:lnTo>
                    <a:pt x="32" y="32"/>
                  </a:lnTo>
                  <a:lnTo>
                    <a:pt x="18" y="48"/>
                  </a:lnTo>
                  <a:lnTo>
                    <a:pt x="8" y="66"/>
                  </a:lnTo>
                  <a:lnTo>
                    <a:pt x="2" y="88"/>
                  </a:lnTo>
                  <a:lnTo>
                    <a:pt x="2" y="88"/>
                  </a:lnTo>
                  <a:close/>
                </a:path>
              </a:pathLst>
            </a:custGeom>
            <a:solidFill>
              <a:srgbClr val="14246D"/>
            </a:solidFill>
            <a:ln>
              <a:noFill/>
            </a:ln>
          </p:spPr>
          <p:txBody>
            <a:bodyPr vert="horz" wrap="square" lIns="68580" tIns="34290" rIns="68580" bIns="34290" numCol="1" anchor="t" anchorCtr="0" compatLnSpc="1">
              <a:prstTxWarp prst="textNoShape">
                <a:avLst/>
              </a:prstTxWarp>
            </a:bodyPr>
            <a:lstStyle/>
            <a:p>
              <a:pPr defTabSz="884491"/>
              <a:endParaRPr lang="ru-RU" sz="1300">
                <a:solidFill>
                  <a:srgbClr val="414142"/>
                </a:solidFill>
              </a:endParaRPr>
            </a:p>
          </p:txBody>
        </p:sp>
        <p:sp>
          <p:nvSpPr>
            <p:cNvPr id="45" name="Freeform 31"/>
            <p:cNvSpPr>
              <a:spLocks/>
            </p:cNvSpPr>
            <p:nvPr/>
          </p:nvSpPr>
          <p:spPr bwMode="auto">
            <a:xfrm>
              <a:off x="38100" y="6532563"/>
              <a:ext cx="2117725" cy="139700"/>
            </a:xfrm>
            <a:custGeom>
              <a:avLst/>
              <a:gdLst>
                <a:gd name="T0" fmla="*/ 1146 w 1334"/>
                <a:gd name="T1" fmla="*/ 0 h 88"/>
                <a:gd name="T2" fmla="*/ 1146 w 1334"/>
                <a:gd name="T3" fmla="*/ 0 h 88"/>
                <a:gd name="T4" fmla="*/ 1124 w 1334"/>
                <a:gd name="T5" fmla="*/ 12 h 88"/>
                <a:gd name="T6" fmla="*/ 1102 w 1334"/>
                <a:gd name="T7" fmla="*/ 22 h 88"/>
                <a:gd name="T8" fmla="*/ 1078 w 1334"/>
                <a:gd name="T9" fmla="*/ 30 h 88"/>
                <a:gd name="T10" fmla="*/ 1052 w 1334"/>
                <a:gd name="T11" fmla="*/ 32 h 88"/>
                <a:gd name="T12" fmla="*/ 1052 w 1334"/>
                <a:gd name="T13" fmla="*/ 32 h 88"/>
                <a:gd name="T14" fmla="*/ 1026 w 1334"/>
                <a:gd name="T15" fmla="*/ 30 h 88"/>
                <a:gd name="T16" fmla="*/ 1002 w 1334"/>
                <a:gd name="T17" fmla="*/ 22 h 88"/>
                <a:gd name="T18" fmla="*/ 980 w 1334"/>
                <a:gd name="T19" fmla="*/ 12 h 88"/>
                <a:gd name="T20" fmla="*/ 960 w 1334"/>
                <a:gd name="T21" fmla="*/ 0 h 88"/>
                <a:gd name="T22" fmla="*/ 322 w 1334"/>
                <a:gd name="T23" fmla="*/ 0 h 88"/>
                <a:gd name="T24" fmla="*/ 322 w 1334"/>
                <a:gd name="T25" fmla="*/ 0 h 88"/>
                <a:gd name="T26" fmla="*/ 302 w 1334"/>
                <a:gd name="T27" fmla="*/ 12 h 88"/>
                <a:gd name="T28" fmla="*/ 278 w 1334"/>
                <a:gd name="T29" fmla="*/ 22 h 88"/>
                <a:gd name="T30" fmla="*/ 254 w 1334"/>
                <a:gd name="T31" fmla="*/ 30 h 88"/>
                <a:gd name="T32" fmla="*/ 228 w 1334"/>
                <a:gd name="T33" fmla="*/ 32 h 88"/>
                <a:gd name="T34" fmla="*/ 228 w 1334"/>
                <a:gd name="T35" fmla="*/ 32 h 88"/>
                <a:gd name="T36" fmla="*/ 204 w 1334"/>
                <a:gd name="T37" fmla="*/ 30 h 88"/>
                <a:gd name="T38" fmla="*/ 178 w 1334"/>
                <a:gd name="T39" fmla="*/ 22 h 88"/>
                <a:gd name="T40" fmla="*/ 156 w 1334"/>
                <a:gd name="T41" fmla="*/ 12 h 88"/>
                <a:gd name="T42" fmla="*/ 136 w 1334"/>
                <a:gd name="T43" fmla="*/ 0 h 88"/>
                <a:gd name="T44" fmla="*/ 0 w 1334"/>
                <a:gd name="T45" fmla="*/ 0 h 88"/>
                <a:gd name="T46" fmla="*/ 0 w 1334"/>
                <a:gd name="T47" fmla="*/ 88 h 88"/>
                <a:gd name="T48" fmla="*/ 1334 w 1334"/>
                <a:gd name="T49" fmla="*/ 88 h 88"/>
                <a:gd name="T50" fmla="*/ 1334 w 1334"/>
                <a:gd name="T51" fmla="*/ 0 h 88"/>
                <a:gd name="T52" fmla="*/ 1146 w 1334"/>
                <a:gd name="T53"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4" h="88">
                  <a:moveTo>
                    <a:pt x="1146" y="0"/>
                  </a:moveTo>
                  <a:lnTo>
                    <a:pt x="1146" y="0"/>
                  </a:lnTo>
                  <a:lnTo>
                    <a:pt x="1124" y="12"/>
                  </a:lnTo>
                  <a:lnTo>
                    <a:pt x="1102" y="22"/>
                  </a:lnTo>
                  <a:lnTo>
                    <a:pt x="1078" y="30"/>
                  </a:lnTo>
                  <a:lnTo>
                    <a:pt x="1052" y="32"/>
                  </a:lnTo>
                  <a:lnTo>
                    <a:pt x="1052" y="32"/>
                  </a:lnTo>
                  <a:lnTo>
                    <a:pt x="1026" y="30"/>
                  </a:lnTo>
                  <a:lnTo>
                    <a:pt x="1002" y="22"/>
                  </a:lnTo>
                  <a:lnTo>
                    <a:pt x="980" y="12"/>
                  </a:lnTo>
                  <a:lnTo>
                    <a:pt x="960" y="0"/>
                  </a:lnTo>
                  <a:lnTo>
                    <a:pt x="322" y="0"/>
                  </a:lnTo>
                  <a:lnTo>
                    <a:pt x="322" y="0"/>
                  </a:lnTo>
                  <a:lnTo>
                    <a:pt x="302" y="12"/>
                  </a:lnTo>
                  <a:lnTo>
                    <a:pt x="278" y="22"/>
                  </a:lnTo>
                  <a:lnTo>
                    <a:pt x="254" y="30"/>
                  </a:lnTo>
                  <a:lnTo>
                    <a:pt x="228" y="32"/>
                  </a:lnTo>
                  <a:lnTo>
                    <a:pt x="228" y="32"/>
                  </a:lnTo>
                  <a:lnTo>
                    <a:pt x="204" y="30"/>
                  </a:lnTo>
                  <a:lnTo>
                    <a:pt x="178" y="22"/>
                  </a:lnTo>
                  <a:lnTo>
                    <a:pt x="156" y="12"/>
                  </a:lnTo>
                  <a:lnTo>
                    <a:pt x="136" y="0"/>
                  </a:lnTo>
                  <a:lnTo>
                    <a:pt x="0" y="0"/>
                  </a:lnTo>
                  <a:lnTo>
                    <a:pt x="0" y="88"/>
                  </a:lnTo>
                  <a:lnTo>
                    <a:pt x="1334" y="88"/>
                  </a:lnTo>
                  <a:lnTo>
                    <a:pt x="1334" y="0"/>
                  </a:lnTo>
                  <a:lnTo>
                    <a:pt x="1146" y="0"/>
                  </a:lnTo>
                  <a:close/>
                </a:path>
              </a:pathLst>
            </a:custGeom>
            <a:solidFill>
              <a:srgbClr val="4596D1"/>
            </a:solidFill>
            <a:ln>
              <a:noFill/>
            </a:ln>
          </p:spPr>
          <p:txBody>
            <a:bodyPr vert="horz" wrap="square" lIns="68580" tIns="34290" rIns="68580" bIns="34290" numCol="1" anchor="t" anchorCtr="0" compatLnSpc="1">
              <a:prstTxWarp prst="textNoShape">
                <a:avLst/>
              </a:prstTxWarp>
            </a:bodyPr>
            <a:lstStyle/>
            <a:p>
              <a:pPr defTabSz="884491"/>
              <a:endParaRPr lang="ru-RU" sz="1300">
                <a:solidFill>
                  <a:srgbClr val="414142"/>
                </a:solidFill>
              </a:endParaRPr>
            </a:p>
          </p:txBody>
        </p:sp>
        <p:sp>
          <p:nvSpPr>
            <p:cNvPr id="46" name="Freeform 32"/>
            <p:cNvSpPr>
              <a:spLocks/>
            </p:cNvSpPr>
            <p:nvPr/>
          </p:nvSpPr>
          <p:spPr bwMode="auto">
            <a:xfrm>
              <a:off x="295275" y="5405438"/>
              <a:ext cx="1609725" cy="908050"/>
            </a:xfrm>
            <a:custGeom>
              <a:avLst/>
              <a:gdLst>
                <a:gd name="T0" fmla="*/ 214 w 1014"/>
                <a:gd name="T1" fmla="*/ 562 h 572"/>
                <a:gd name="T2" fmla="*/ 214 w 1014"/>
                <a:gd name="T3" fmla="*/ 562 h 572"/>
                <a:gd name="T4" fmla="*/ 248 w 1014"/>
                <a:gd name="T5" fmla="*/ 568 h 572"/>
                <a:gd name="T6" fmla="*/ 284 w 1014"/>
                <a:gd name="T7" fmla="*/ 572 h 572"/>
                <a:gd name="T8" fmla="*/ 728 w 1014"/>
                <a:gd name="T9" fmla="*/ 572 h 572"/>
                <a:gd name="T10" fmla="*/ 728 w 1014"/>
                <a:gd name="T11" fmla="*/ 572 h 572"/>
                <a:gd name="T12" fmla="*/ 742 w 1014"/>
                <a:gd name="T13" fmla="*/ 570 h 572"/>
                <a:gd name="T14" fmla="*/ 742 w 1014"/>
                <a:gd name="T15" fmla="*/ 570 h 572"/>
                <a:gd name="T16" fmla="*/ 744 w 1014"/>
                <a:gd name="T17" fmla="*/ 558 h 572"/>
                <a:gd name="T18" fmla="*/ 748 w 1014"/>
                <a:gd name="T19" fmla="*/ 544 h 572"/>
                <a:gd name="T20" fmla="*/ 752 w 1014"/>
                <a:gd name="T21" fmla="*/ 532 h 572"/>
                <a:gd name="T22" fmla="*/ 758 w 1014"/>
                <a:gd name="T23" fmla="*/ 520 h 572"/>
                <a:gd name="T24" fmla="*/ 772 w 1014"/>
                <a:gd name="T25" fmla="*/ 498 h 572"/>
                <a:gd name="T26" fmla="*/ 792 w 1014"/>
                <a:gd name="T27" fmla="*/ 478 h 572"/>
                <a:gd name="T28" fmla="*/ 812 w 1014"/>
                <a:gd name="T29" fmla="*/ 462 h 572"/>
                <a:gd name="T30" fmla="*/ 824 w 1014"/>
                <a:gd name="T31" fmla="*/ 456 h 572"/>
                <a:gd name="T32" fmla="*/ 836 w 1014"/>
                <a:gd name="T33" fmla="*/ 450 h 572"/>
                <a:gd name="T34" fmla="*/ 850 w 1014"/>
                <a:gd name="T35" fmla="*/ 446 h 572"/>
                <a:gd name="T36" fmla="*/ 862 w 1014"/>
                <a:gd name="T37" fmla="*/ 444 h 572"/>
                <a:gd name="T38" fmla="*/ 876 w 1014"/>
                <a:gd name="T39" fmla="*/ 442 h 572"/>
                <a:gd name="T40" fmla="*/ 890 w 1014"/>
                <a:gd name="T41" fmla="*/ 440 h 572"/>
                <a:gd name="T42" fmla="*/ 890 w 1014"/>
                <a:gd name="T43" fmla="*/ 440 h 572"/>
                <a:gd name="T44" fmla="*/ 908 w 1014"/>
                <a:gd name="T45" fmla="*/ 442 h 572"/>
                <a:gd name="T46" fmla="*/ 926 w 1014"/>
                <a:gd name="T47" fmla="*/ 444 h 572"/>
                <a:gd name="T48" fmla="*/ 942 w 1014"/>
                <a:gd name="T49" fmla="*/ 450 h 572"/>
                <a:gd name="T50" fmla="*/ 956 w 1014"/>
                <a:gd name="T51" fmla="*/ 456 h 572"/>
                <a:gd name="T52" fmla="*/ 956 w 1014"/>
                <a:gd name="T53" fmla="*/ 456 h 572"/>
                <a:gd name="T54" fmla="*/ 970 w 1014"/>
                <a:gd name="T55" fmla="*/ 438 h 572"/>
                <a:gd name="T56" fmla="*/ 980 w 1014"/>
                <a:gd name="T57" fmla="*/ 418 h 572"/>
                <a:gd name="T58" fmla="*/ 990 w 1014"/>
                <a:gd name="T59" fmla="*/ 398 h 572"/>
                <a:gd name="T60" fmla="*/ 998 w 1014"/>
                <a:gd name="T61" fmla="*/ 378 h 572"/>
                <a:gd name="T62" fmla="*/ 1004 w 1014"/>
                <a:gd name="T63" fmla="*/ 356 h 572"/>
                <a:gd name="T64" fmla="*/ 1010 w 1014"/>
                <a:gd name="T65" fmla="*/ 332 h 572"/>
                <a:gd name="T66" fmla="*/ 1012 w 1014"/>
                <a:gd name="T67" fmla="*/ 310 h 572"/>
                <a:gd name="T68" fmla="*/ 1014 w 1014"/>
                <a:gd name="T69" fmla="*/ 286 h 572"/>
                <a:gd name="T70" fmla="*/ 1014 w 1014"/>
                <a:gd name="T71" fmla="*/ 0 h 572"/>
                <a:gd name="T72" fmla="*/ 0 w 1014"/>
                <a:gd name="T73" fmla="*/ 0 h 572"/>
                <a:gd name="T74" fmla="*/ 0 w 1014"/>
                <a:gd name="T75" fmla="*/ 286 h 572"/>
                <a:gd name="T76" fmla="*/ 0 w 1014"/>
                <a:gd name="T77" fmla="*/ 286 h 572"/>
                <a:gd name="T78" fmla="*/ 0 w 1014"/>
                <a:gd name="T79" fmla="*/ 308 h 572"/>
                <a:gd name="T80" fmla="*/ 2 w 1014"/>
                <a:gd name="T81" fmla="*/ 328 h 572"/>
                <a:gd name="T82" fmla="*/ 6 w 1014"/>
                <a:gd name="T83" fmla="*/ 348 h 572"/>
                <a:gd name="T84" fmla="*/ 12 w 1014"/>
                <a:gd name="T85" fmla="*/ 368 h 572"/>
                <a:gd name="T86" fmla="*/ 18 w 1014"/>
                <a:gd name="T87" fmla="*/ 388 h 572"/>
                <a:gd name="T88" fmla="*/ 26 w 1014"/>
                <a:gd name="T89" fmla="*/ 406 h 572"/>
                <a:gd name="T90" fmla="*/ 36 w 1014"/>
                <a:gd name="T91" fmla="*/ 424 h 572"/>
                <a:gd name="T92" fmla="*/ 46 w 1014"/>
                <a:gd name="T93" fmla="*/ 442 h 572"/>
                <a:gd name="T94" fmla="*/ 46 w 1014"/>
                <a:gd name="T95" fmla="*/ 442 h 572"/>
                <a:gd name="T96" fmla="*/ 66 w 1014"/>
                <a:gd name="T97" fmla="*/ 440 h 572"/>
                <a:gd name="T98" fmla="*/ 66 w 1014"/>
                <a:gd name="T99" fmla="*/ 440 h 572"/>
                <a:gd name="T100" fmla="*/ 80 w 1014"/>
                <a:gd name="T101" fmla="*/ 442 h 572"/>
                <a:gd name="T102" fmla="*/ 94 w 1014"/>
                <a:gd name="T103" fmla="*/ 442 h 572"/>
                <a:gd name="T104" fmla="*/ 120 w 1014"/>
                <a:gd name="T105" fmla="*/ 450 h 572"/>
                <a:gd name="T106" fmla="*/ 142 w 1014"/>
                <a:gd name="T107" fmla="*/ 460 h 572"/>
                <a:gd name="T108" fmla="*/ 164 w 1014"/>
                <a:gd name="T109" fmla="*/ 476 h 572"/>
                <a:gd name="T110" fmla="*/ 182 w 1014"/>
                <a:gd name="T111" fmla="*/ 494 h 572"/>
                <a:gd name="T112" fmla="*/ 196 w 1014"/>
                <a:gd name="T113" fmla="*/ 514 h 572"/>
                <a:gd name="T114" fmla="*/ 208 w 1014"/>
                <a:gd name="T115" fmla="*/ 538 h 572"/>
                <a:gd name="T116" fmla="*/ 214 w 1014"/>
                <a:gd name="T117" fmla="*/ 562 h 572"/>
                <a:gd name="T118" fmla="*/ 214 w 1014"/>
                <a:gd name="T119" fmla="*/ 562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4" h="572">
                  <a:moveTo>
                    <a:pt x="214" y="562"/>
                  </a:moveTo>
                  <a:lnTo>
                    <a:pt x="214" y="562"/>
                  </a:lnTo>
                  <a:lnTo>
                    <a:pt x="248" y="568"/>
                  </a:lnTo>
                  <a:lnTo>
                    <a:pt x="284" y="572"/>
                  </a:lnTo>
                  <a:lnTo>
                    <a:pt x="728" y="572"/>
                  </a:lnTo>
                  <a:lnTo>
                    <a:pt x="728" y="572"/>
                  </a:lnTo>
                  <a:lnTo>
                    <a:pt x="742" y="570"/>
                  </a:lnTo>
                  <a:lnTo>
                    <a:pt x="742" y="570"/>
                  </a:lnTo>
                  <a:lnTo>
                    <a:pt x="744" y="558"/>
                  </a:lnTo>
                  <a:lnTo>
                    <a:pt x="748" y="544"/>
                  </a:lnTo>
                  <a:lnTo>
                    <a:pt x="752" y="532"/>
                  </a:lnTo>
                  <a:lnTo>
                    <a:pt x="758" y="520"/>
                  </a:lnTo>
                  <a:lnTo>
                    <a:pt x="772" y="498"/>
                  </a:lnTo>
                  <a:lnTo>
                    <a:pt x="792" y="478"/>
                  </a:lnTo>
                  <a:lnTo>
                    <a:pt x="812" y="462"/>
                  </a:lnTo>
                  <a:lnTo>
                    <a:pt x="824" y="456"/>
                  </a:lnTo>
                  <a:lnTo>
                    <a:pt x="836" y="450"/>
                  </a:lnTo>
                  <a:lnTo>
                    <a:pt x="850" y="446"/>
                  </a:lnTo>
                  <a:lnTo>
                    <a:pt x="862" y="444"/>
                  </a:lnTo>
                  <a:lnTo>
                    <a:pt x="876" y="442"/>
                  </a:lnTo>
                  <a:lnTo>
                    <a:pt x="890" y="440"/>
                  </a:lnTo>
                  <a:lnTo>
                    <a:pt x="890" y="440"/>
                  </a:lnTo>
                  <a:lnTo>
                    <a:pt x="908" y="442"/>
                  </a:lnTo>
                  <a:lnTo>
                    <a:pt x="926" y="444"/>
                  </a:lnTo>
                  <a:lnTo>
                    <a:pt x="942" y="450"/>
                  </a:lnTo>
                  <a:lnTo>
                    <a:pt x="956" y="456"/>
                  </a:lnTo>
                  <a:lnTo>
                    <a:pt x="956" y="456"/>
                  </a:lnTo>
                  <a:lnTo>
                    <a:pt x="970" y="438"/>
                  </a:lnTo>
                  <a:lnTo>
                    <a:pt x="980" y="418"/>
                  </a:lnTo>
                  <a:lnTo>
                    <a:pt x="990" y="398"/>
                  </a:lnTo>
                  <a:lnTo>
                    <a:pt x="998" y="378"/>
                  </a:lnTo>
                  <a:lnTo>
                    <a:pt x="1004" y="356"/>
                  </a:lnTo>
                  <a:lnTo>
                    <a:pt x="1010" y="332"/>
                  </a:lnTo>
                  <a:lnTo>
                    <a:pt x="1012" y="310"/>
                  </a:lnTo>
                  <a:lnTo>
                    <a:pt x="1014" y="286"/>
                  </a:lnTo>
                  <a:lnTo>
                    <a:pt x="1014" y="0"/>
                  </a:lnTo>
                  <a:lnTo>
                    <a:pt x="0" y="0"/>
                  </a:lnTo>
                  <a:lnTo>
                    <a:pt x="0" y="286"/>
                  </a:lnTo>
                  <a:lnTo>
                    <a:pt x="0" y="286"/>
                  </a:lnTo>
                  <a:lnTo>
                    <a:pt x="0" y="308"/>
                  </a:lnTo>
                  <a:lnTo>
                    <a:pt x="2" y="328"/>
                  </a:lnTo>
                  <a:lnTo>
                    <a:pt x="6" y="348"/>
                  </a:lnTo>
                  <a:lnTo>
                    <a:pt x="12" y="368"/>
                  </a:lnTo>
                  <a:lnTo>
                    <a:pt x="18" y="388"/>
                  </a:lnTo>
                  <a:lnTo>
                    <a:pt x="26" y="406"/>
                  </a:lnTo>
                  <a:lnTo>
                    <a:pt x="36" y="424"/>
                  </a:lnTo>
                  <a:lnTo>
                    <a:pt x="46" y="442"/>
                  </a:lnTo>
                  <a:lnTo>
                    <a:pt x="46" y="442"/>
                  </a:lnTo>
                  <a:lnTo>
                    <a:pt x="66" y="440"/>
                  </a:lnTo>
                  <a:lnTo>
                    <a:pt x="66" y="440"/>
                  </a:lnTo>
                  <a:lnTo>
                    <a:pt x="80" y="442"/>
                  </a:lnTo>
                  <a:lnTo>
                    <a:pt x="94" y="442"/>
                  </a:lnTo>
                  <a:lnTo>
                    <a:pt x="120" y="450"/>
                  </a:lnTo>
                  <a:lnTo>
                    <a:pt x="142" y="460"/>
                  </a:lnTo>
                  <a:lnTo>
                    <a:pt x="164" y="476"/>
                  </a:lnTo>
                  <a:lnTo>
                    <a:pt x="182" y="494"/>
                  </a:lnTo>
                  <a:lnTo>
                    <a:pt x="196" y="514"/>
                  </a:lnTo>
                  <a:lnTo>
                    <a:pt x="208" y="538"/>
                  </a:lnTo>
                  <a:lnTo>
                    <a:pt x="214" y="562"/>
                  </a:lnTo>
                  <a:lnTo>
                    <a:pt x="214" y="562"/>
                  </a:lnTo>
                  <a:close/>
                </a:path>
              </a:pathLst>
            </a:custGeom>
            <a:solidFill>
              <a:schemeClr val="bg1"/>
            </a:solidFill>
            <a:ln w="12700">
              <a:solidFill>
                <a:srgbClr val="4596D1"/>
              </a:solidFill>
            </a:ln>
          </p:spPr>
          <p:txBody>
            <a:bodyPr vert="horz" wrap="square" lIns="68580" tIns="34290" rIns="68580" bIns="34290" numCol="1" anchor="t" anchorCtr="0" compatLnSpc="1">
              <a:prstTxWarp prst="textNoShape">
                <a:avLst/>
              </a:prstTxWarp>
            </a:bodyPr>
            <a:lstStyle/>
            <a:p>
              <a:pPr defTabSz="884491"/>
              <a:endParaRPr lang="ru-RU" sz="1300">
                <a:solidFill>
                  <a:srgbClr val="414142"/>
                </a:solidFill>
              </a:endParaRPr>
            </a:p>
          </p:txBody>
        </p:sp>
        <p:sp>
          <p:nvSpPr>
            <p:cNvPr id="47" name="Freeform 33"/>
            <p:cNvSpPr>
              <a:spLocks noEditPoints="1"/>
            </p:cNvSpPr>
            <p:nvPr/>
          </p:nvSpPr>
          <p:spPr bwMode="auto">
            <a:xfrm>
              <a:off x="161925" y="6103938"/>
              <a:ext cx="479425" cy="479425"/>
            </a:xfrm>
            <a:custGeom>
              <a:avLst/>
              <a:gdLst>
                <a:gd name="T0" fmla="*/ 298 w 302"/>
                <a:gd name="T1" fmla="*/ 122 h 302"/>
                <a:gd name="T2" fmla="*/ 280 w 302"/>
                <a:gd name="T3" fmla="*/ 74 h 302"/>
                <a:gd name="T4" fmla="*/ 248 w 302"/>
                <a:gd name="T5" fmla="*/ 36 h 302"/>
                <a:gd name="T6" fmla="*/ 204 w 302"/>
                <a:gd name="T7" fmla="*/ 10 h 302"/>
                <a:gd name="T8" fmla="*/ 164 w 302"/>
                <a:gd name="T9" fmla="*/ 2 h 302"/>
                <a:gd name="T10" fmla="*/ 150 w 302"/>
                <a:gd name="T11" fmla="*/ 0 h 302"/>
                <a:gd name="T12" fmla="*/ 130 w 302"/>
                <a:gd name="T13" fmla="*/ 2 h 302"/>
                <a:gd name="T14" fmla="*/ 104 w 302"/>
                <a:gd name="T15" fmla="*/ 8 h 302"/>
                <a:gd name="T16" fmla="*/ 78 w 302"/>
                <a:gd name="T17" fmla="*/ 18 h 302"/>
                <a:gd name="T18" fmla="*/ 38 w 302"/>
                <a:gd name="T19" fmla="*/ 52 h 302"/>
                <a:gd name="T20" fmla="*/ 16 w 302"/>
                <a:gd name="T21" fmla="*/ 84 h 302"/>
                <a:gd name="T22" fmla="*/ 6 w 302"/>
                <a:gd name="T23" fmla="*/ 110 h 302"/>
                <a:gd name="T24" fmla="*/ 0 w 302"/>
                <a:gd name="T25" fmla="*/ 136 h 302"/>
                <a:gd name="T26" fmla="*/ 0 w 302"/>
                <a:gd name="T27" fmla="*/ 150 h 302"/>
                <a:gd name="T28" fmla="*/ 4 w 302"/>
                <a:gd name="T29" fmla="*/ 186 h 302"/>
                <a:gd name="T30" fmla="*/ 16 w 302"/>
                <a:gd name="T31" fmla="*/ 218 h 302"/>
                <a:gd name="T32" fmla="*/ 34 w 302"/>
                <a:gd name="T33" fmla="*/ 246 h 302"/>
                <a:gd name="T34" fmla="*/ 58 w 302"/>
                <a:gd name="T35" fmla="*/ 270 h 302"/>
                <a:gd name="T36" fmla="*/ 78 w 302"/>
                <a:gd name="T37" fmla="*/ 282 h 302"/>
                <a:gd name="T38" fmla="*/ 126 w 302"/>
                <a:gd name="T39" fmla="*/ 300 h 302"/>
                <a:gd name="T40" fmla="*/ 150 w 302"/>
                <a:gd name="T41" fmla="*/ 302 h 302"/>
                <a:gd name="T42" fmla="*/ 200 w 302"/>
                <a:gd name="T43" fmla="*/ 292 h 302"/>
                <a:gd name="T44" fmla="*/ 244 w 302"/>
                <a:gd name="T45" fmla="*/ 270 h 302"/>
                <a:gd name="T46" fmla="*/ 256 w 302"/>
                <a:gd name="T47" fmla="*/ 258 h 302"/>
                <a:gd name="T48" fmla="*/ 278 w 302"/>
                <a:gd name="T49" fmla="*/ 232 h 302"/>
                <a:gd name="T50" fmla="*/ 292 w 302"/>
                <a:gd name="T51" fmla="*/ 202 h 302"/>
                <a:gd name="T52" fmla="*/ 300 w 302"/>
                <a:gd name="T53" fmla="*/ 168 h 302"/>
                <a:gd name="T54" fmla="*/ 302 w 302"/>
                <a:gd name="T55" fmla="*/ 150 h 302"/>
                <a:gd name="T56" fmla="*/ 298 w 302"/>
                <a:gd name="T57" fmla="*/ 122 h 302"/>
                <a:gd name="T58" fmla="*/ 150 w 302"/>
                <a:gd name="T59" fmla="*/ 96 h 302"/>
                <a:gd name="T60" fmla="*/ 162 w 302"/>
                <a:gd name="T61" fmla="*/ 96 h 302"/>
                <a:gd name="T62" fmla="*/ 182 w 302"/>
                <a:gd name="T63" fmla="*/ 104 h 302"/>
                <a:gd name="T64" fmla="*/ 196 w 302"/>
                <a:gd name="T65" fmla="*/ 120 h 302"/>
                <a:gd name="T66" fmla="*/ 206 w 302"/>
                <a:gd name="T67" fmla="*/ 140 h 302"/>
                <a:gd name="T68" fmla="*/ 206 w 302"/>
                <a:gd name="T69" fmla="*/ 150 h 302"/>
                <a:gd name="T70" fmla="*/ 202 w 302"/>
                <a:gd name="T71" fmla="*/ 172 h 302"/>
                <a:gd name="T72" fmla="*/ 190 w 302"/>
                <a:gd name="T73" fmla="*/ 190 h 302"/>
                <a:gd name="T74" fmla="*/ 172 w 302"/>
                <a:gd name="T75" fmla="*/ 202 h 302"/>
                <a:gd name="T76" fmla="*/ 150 w 302"/>
                <a:gd name="T77" fmla="*/ 206 h 302"/>
                <a:gd name="T78" fmla="*/ 140 w 302"/>
                <a:gd name="T79" fmla="*/ 206 h 302"/>
                <a:gd name="T80" fmla="*/ 120 w 302"/>
                <a:gd name="T81" fmla="*/ 196 h 302"/>
                <a:gd name="T82" fmla="*/ 104 w 302"/>
                <a:gd name="T83" fmla="*/ 182 h 302"/>
                <a:gd name="T84" fmla="*/ 96 w 302"/>
                <a:gd name="T85" fmla="*/ 162 h 302"/>
                <a:gd name="T86" fmla="*/ 96 w 302"/>
                <a:gd name="T87" fmla="*/ 150 h 302"/>
                <a:gd name="T88" fmla="*/ 100 w 302"/>
                <a:gd name="T89" fmla="*/ 130 h 302"/>
                <a:gd name="T90" fmla="*/ 112 w 302"/>
                <a:gd name="T91" fmla="*/ 112 h 302"/>
                <a:gd name="T92" fmla="*/ 130 w 302"/>
                <a:gd name="T93" fmla="*/ 100 h 302"/>
                <a:gd name="T94" fmla="*/ 150 w 302"/>
                <a:gd name="T95" fmla="*/ 9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2" h="302">
                  <a:moveTo>
                    <a:pt x="298" y="122"/>
                  </a:moveTo>
                  <a:lnTo>
                    <a:pt x="298" y="122"/>
                  </a:lnTo>
                  <a:lnTo>
                    <a:pt x="292" y="98"/>
                  </a:lnTo>
                  <a:lnTo>
                    <a:pt x="280" y="74"/>
                  </a:lnTo>
                  <a:lnTo>
                    <a:pt x="266" y="54"/>
                  </a:lnTo>
                  <a:lnTo>
                    <a:pt x="248" y="36"/>
                  </a:lnTo>
                  <a:lnTo>
                    <a:pt x="226" y="20"/>
                  </a:lnTo>
                  <a:lnTo>
                    <a:pt x="204" y="10"/>
                  </a:lnTo>
                  <a:lnTo>
                    <a:pt x="178" y="2"/>
                  </a:lnTo>
                  <a:lnTo>
                    <a:pt x="164" y="2"/>
                  </a:lnTo>
                  <a:lnTo>
                    <a:pt x="150" y="0"/>
                  </a:lnTo>
                  <a:lnTo>
                    <a:pt x="150" y="0"/>
                  </a:lnTo>
                  <a:lnTo>
                    <a:pt x="130" y="2"/>
                  </a:lnTo>
                  <a:lnTo>
                    <a:pt x="130" y="2"/>
                  </a:lnTo>
                  <a:lnTo>
                    <a:pt x="116" y="4"/>
                  </a:lnTo>
                  <a:lnTo>
                    <a:pt x="104" y="8"/>
                  </a:lnTo>
                  <a:lnTo>
                    <a:pt x="90" y="12"/>
                  </a:lnTo>
                  <a:lnTo>
                    <a:pt x="78" y="18"/>
                  </a:lnTo>
                  <a:lnTo>
                    <a:pt x="56" y="34"/>
                  </a:lnTo>
                  <a:lnTo>
                    <a:pt x="38" y="52"/>
                  </a:lnTo>
                  <a:lnTo>
                    <a:pt x="22" y="72"/>
                  </a:lnTo>
                  <a:lnTo>
                    <a:pt x="16" y="84"/>
                  </a:lnTo>
                  <a:lnTo>
                    <a:pt x="10" y="96"/>
                  </a:lnTo>
                  <a:lnTo>
                    <a:pt x="6" y="110"/>
                  </a:lnTo>
                  <a:lnTo>
                    <a:pt x="2" y="122"/>
                  </a:lnTo>
                  <a:lnTo>
                    <a:pt x="0" y="136"/>
                  </a:lnTo>
                  <a:lnTo>
                    <a:pt x="0" y="150"/>
                  </a:lnTo>
                  <a:lnTo>
                    <a:pt x="0" y="150"/>
                  </a:lnTo>
                  <a:lnTo>
                    <a:pt x="2" y="168"/>
                  </a:lnTo>
                  <a:lnTo>
                    <a:pt x="4" y="186"/>
                  </a:lnTo>
                  <a:lnTo>
                    <a:pt x="10" y="202"/>
                  </a:lnTo>
                  <a:lnTo>
                    <a:pt x="16" y="218"/>
                  </a:lnTo>
                  <a:lnTo>
                    <a:pt x="24" y="232"/>
                  </a:lnTo>
                  <a:lnTo>
                    <a:pt x="34" y="246"/>
                  </a:lnTo>
                  <a:lnTo>
                    <a:pt x="46" y="258"/>
                  </a:lnTo>
                  <a:lnTo>
                    <a:pt x="58" y="270"/>
                  </a:lnTo>
                  <a:lnTo>
                    <a:pt x="58" y="270"/>
                  </a:lnTo>
                  <a:lnTo>
                    <a:pt x="78" y="282"/>
                  </a:lnTo>
                  <a:lnTo>
                    <a:pt x="100" y="292"/>
                  </a:lnTo>
                  <a:lnTo>
                    <a:pt x="126" y="300"/>
                  </a:lnTo>
                  <a:lnTo>
                    <a:pt x="150" y="302"/>
                  </a:lnTo>
                  <a:lnTo>
                    <a:pt x="150" y="302"/>
                  </a:lnTo>
                  <a:lnTo>
                    <a:pt x="176" y="300"/>
                  </a:lnTo>
                  <a:lnTo>
                    <a:pt x="200" y="292"/>
                  </a:lnTo>
                  <a:lnTo>
                    <a:pt x="224" y="282"/>
                  </a:lnTo>
                  <a:lnTo>
                    <a:pt x="244" y="270"/>
                  </a:lnTo>
                  <a:lnTo>
                    <a:pt x="244" y="270"/>
                  </a:lnTo>
                  <a:lnTo>
                    <a:pt x="256" y="258"/>
                  </a:lnTo>
                  <a:lnTo>
                    <a:pt x="268" y="246"/>
                  </a:lnTo>
                  <a:lnTo>
                    <a:pt x="278" y="232"/>
                  </a:lnTo>
                  <a:lnTo>
                    <a:pt x="286" y="218"/>
                  </a:lnTo>
                  <a:lnTo>
                    <a:pt x="292" y="202"/>
                  </a:lnTo>
                  <a:lnTo>
                    <a:pt x="298" y="186"/>
                  </a:lnTo>
                  <a:lnTo>
                    <a:pt x="300" y="168"/>
                  </a:lnTo>
                  <a:lnTo>
                    <a:pt x="302" y="150"/>
                  </a:lnTo>
                  <a:lnTo>
                    <a:pt x="302" y="150"/>
                  </a:lnTo>
                  <a:lnTo>
                    <a:pt x="300" y="136"/>
                  </a:lnTo>
                  <a:lnTo>
                    <a:pt x="298" y="122"/>
                  </a:lnTo>
                  <a:lnTo>
                    <a:pt x="298" y="122"/>
                  </a:lnTo>
                  <a:close/>
                  <a:moveTo>
                    <a:pt x="150" y="96"/>
                  </a:moveTo>
                  <a:lnTo>
                    <a:pt x="150" y="96"/>
                  </a:lnTo>
                  <a:lnTo>
                    <a:pt x="162" y="96"/>
                  </a:lnTo>
                  <a:lnTo>
                    <a:pt x="172" y="100"/>
                  </a:lnTo>
                  <a:lnTo>
                    <a:pt x="182" y="104"/>
                  </a:lnTo>
                  <a:lnTo>
                    <a:pt x="190" y="112"/>
                  </a:lnTo>
                  <a:lnTo>
                    <a:pt x="196" y="120"/>
                  </a:lnTo>
                  <a:lnTo>
                    <a:pt x="202" y="130"/>
                  </a:lnTo>
                  <a:lnTo>
                    <a:pt x="206" y="140"/>
                  </a:lnTo>
                  <a:lnTo>
                    <a:pt x="206" y="150"/>
                  </a:lnTo>
                  <a:lnTo>
                    <a:pt x="206" y="150"/>
                  </a:lnTo>
                  <a:lnTo>
                    <a:pt x="206" y="162"/>
                  </a:lnTo>
                  <a:lnTo>
                    <a:pt x="202" y="172"/>
                  </a:lnTo>
                  <a:lnTo>
                    <a:pt x="196" y="182"/>
                  </a:lnTo>
                  <a:lnTo>
                    <a:pt x="190" y="190"/>
                  </a:lnTo>
                  <a:lnTo>
                    <a:pt x="182" y="196"/>
                  </a:lnTo>
                  <a:lnTo>
                    <a:pt x="172" y="202"/>
                  </a:lnTo>
                  <a:lnTo>
                    <a:pt x="162" y="206"/>
                  </a:lnTo>
                  <a:lnTo>
                    <a:pt x="150" y="206"/>
                  </a:lnTo>
                  <a:lnTo>
                    <a:pt x="150" y="206"/>
                  </a:lnTo>
                  <a:lnTo>
                    <a:pt x="140" y="206"/>
                  </a:lnTo>
                  <a:lnTo>
                    <a:pt x="130" y="202"/>
                  </a:lnTo>
                  <a:lnTo>
                    <a:pt x="120" y="196"/>
                  </a:lnTo>
                  <a:lnTo>
                    <a:pt x="112" y="190"/>
                  </a:lnTo>
                  <a:lnTo>
                    <a:pt x="104" y="182"/>
                  </a:lnTo>
                  <a:lnTo>
                    <a:pt x="100" y="172"/>
                  </a:lnTo>
                  <a:lnTo>
                    <a:pt x="96" y="162"/>
                  </a:lnTo>
                  <a:lnTo>
                    <a:pt x="96" y="150"/>
                  </a:lnTo>
                  <a:lnTo>
                    <a:pt x="96" y="150"/>
                  </a:lnTo>
                  <a:lnTo>
                    <a:pt x="96" y="140"/>
                  </a:lnTo>
                  <a:lnTo>
                    <a:pt x="100" y="130"/>
                  </a:lnTo>
                  <a:lnTo>
                    <a:pt x="104" y="120"/>
                  </a:lnTo>
                  <a:lnTo>
                    <a:pt x="112" y="112"/>
                  </a:lnTo>
                  <a:lnTo>
                    <a:pt x="120" y="104"/>
                  </a:lnTo>
                  <a:lnTo>
                    <a:pt x="130" y="100"/>
                  </a:lnTo>
                  <a:lnTo>
                    <a:pt x="140" y="96"/>
                  </a:lnTo>
                  <a:lnTo>
                    <a:pt x="150" y="96"/>
                  </a:lnTo>
                  <a:lnTo>
                    <a:pt x="150" y="96"/>
                  </a:lnTo>
                  <a:close/>
                </a:path>
              </a:pathLst>
            </a:custGeom>
            <a:solidFill>
              <a:srgbClr val="14246D"/>
            </a:solidFill>
            <a:ln>
              <a:noFill/>
            </a:ln>
          </p:spPr>
          <p:txBody>
            <a:bodyPr vert="horz" wrap="square" lIns="68580" tIns="34290" rIns="68580" bIns="34290" numCol="1" anchor="t" anchorCtr="0" compatLnSpc="1">
              <a:prstTxWarp prst="textNoShape">
                <a:avLst/>
              </a:prstTxWarp>
            </a:bodyPr>
            <a:lstStyle/>
            <a:p>
              <a:pPr defTabSz="884491"/>
              <a:endParaRPr lang="ru-RU" sz="1300">
                <a:solidFill>
                  <a:srgbClr val="414142"/>
                </a:solidFill>
              </a:endParaRPr>
            </a:p>
          </p:txBody>
        </p:sp>
        <p:sp>
          <p:nvSpPr>
            <p:cNvPr id="48" name="Freeform 34"/>
            <p:cNvSpPr>
              <a:spLocks noEditPoints="1"/>
            </p:cNvSpPr>
            <p:nvPr/>
          </p:nvSpPr>
          <p:spPr bwMode="auto">
            <a:xfrm>
              <a:off x="1470025" y="6103938"/>
              <a:ext cx="476250" cy="479425"/>
            </a:xfrm>
            <a:custGeom>
              <a:avLst/>
              <a:gdLst>
                <a:gd name="T0" fmla="*/ 216 w 300"/>
                <a:gd name="T1" fmla="*/ 16 h 302"/>
                <a:gd name="T2" fmla="*/ 186 w 300"/>
                <a:gd name="T3" fmla="*/ 4 h 302"/>
                <a:gd name="T4" fmla="*/ 150 w 300"/>
                <a:gd name="T5" fmla="*/ 0 h 302"/>
                <a:gd name="T6" fmla="*/ 136 w 300"/>
                <a:gd name="T7" fmla="*/ 2 h 302"/>
                <a:gd name="T8" fmla="*/ 110 w 300"/>
                <a:gd name="T9" fmla="*/ 6 h 302"/>
                <a:gd name="T10" fmla="*/ 84 w 300"/>
                <a:gd name="T11" fmla="*/ 16 h 302"/>
                <a:gd name="T12" fmla="*/ 52 w 300"/>
                <a:gd name="T13" fmla="*/ 38 h 302"/>
                <a:gd name="T14" fmla="*/ 18 w 300"/>
                <a:gd name="T15" fmla="*/ 80 h 302"/>
                <a:gd name="T16" fmla="*/ 8 w 300"/>
                <a:gd name="T17" fmla="*/ 104 h 302"/>
                <a:gd name="T18" fmla="*/ 2 w 300"/>
                <a:gd name="T19" fmla="*/ 130 h 302"/>
                <a:gd name="T20" fmla="*/ 0 w 300"/>
                <a:gd name="T21" fmla="*/ 150 h 302"/>
                <a:gd name="T22" fmla="*/ 0 w 300"/>
                <a:gd name="T23" fmla="*/ 168 h 302"/>
                <a:gd name="T24" fmla="*/ 8 w 300"/>
                <a:gd name="T25" fmla="*/ 202 h 302"/>
                <a:gd name="T26" fmla="*/ 24 w 300"/>
                <a:gd name="T27" fmla="*/ 232 h 302"/>
                <a:gd name="T28" fmla="*/ 46 w 300"/>
                <a:gd name="T29" fmla="*/ 258 h 302"/>
                <a:gd name="T30" fmla="*/ 58 w 300"/>
                <a:gd name="T31" fmla="*/ 270 h 302"/>
                <a:gd name="T32" fmla="*/ 100 w 300"/>
                <a:gd name="T33" fmla="*/ 292 h 302"/>
                <a:gd name="T34" fmla="*/ 150 w 300"/>
                <a:gd name="T35" fmla="*/ 302 h 302"/>
                <a:gd name="T36" fmla="*/ 176 w 300"/>
                <a:gd name="T37" fmla="*/ 300 h 302"/>
                <a:gd name="T38" fmla="*/ 222 w 300"/>
                <a:gd name="T39" fmla="*/ 282 h 302"/>
                <a:gd name="T40" fmla="*/ 244 w 300"/>
                <a:gd name="T41" fmla="*/ 270 h 302"/>
                <a:gd name="T42" fmla="*/ 266 w 300"/>
                <a:gd name="T43" fmla="*/ 246 h 302"/>
                <a:gd name="T44" fmla="*/ 286 w 300"/>
                <a:gd name="T45" fmla="*/ 218 h 302"/>
                <a:gd name="T46" fmla="*/ 296 w 300"/>
                <a:gd name="T47" fmla="*/ 186 h 302"/>
                <a:gd name="T48" fmla="*/ 300 w 300"/>
                <a:gd name="T49" fmla="*/ 150 h 302"/>
                <a:gd name="T50" fmla="*/ 300 w 300"/>
                <a:gd name="T51" fmla="*/ 128 h 302"/>
                <a:gd name="T52" fmla="*/ 288 w 300"/>
                <a:gd name="T53" fmla="*/ 88 h 302"/>
                <a:gd name="T54" fmla="*/ 266 w 300"/>
                <a:gd name="T55" fmla="*/ 54 h 302"/>
                <a:gd name="T56" fmla="*/ 234 w 300"/>
                <a:gd name="T57" fmla="*/ 26 h 302"/>
                <a:gd name="T58" fmla="*/ 216 w 300"/>
                <a:gd name="T59" fmla="*/ 16 h 302"/>
                <a:gd name="T60" fmla="*/ 150 w 300"/>
                <a:gd name="T61" fmla="*/ 96 h 302"/>
                <a:gd name="T62" fmla="*/ 172 w 300"/>
                <a:gd name="T63" fmla="*/ 100 h 302"/>
                <a:gd name="T64" fmla="*/ 190 w 300"/>
                <a:gd name="T65" fmla="*/ 112 h 302"/>
                <a:gd name="T66" fmla="*/ 202 w 300"/>
                <a:gd name="T67" fmla="*/ 130 h 302"/>
                <a:gd name="T68" fmla="*/ 206 w 300"/>
                <a:gd name="T69" fmla="*/ 150 h 302"/>
                <a:gd name="T70" fmla="*/ 204 w 300"/>
                <a:gd name="T71" fmla="*/ 162 h 302"/>
                <a:gd name="T72" fmla="*/ 196 w 300"/>
                <a:gd name="T73" fmla="*/ 182 h 302"/>
                <a:gd name="T74" fmla="*/ 182 w 300"/>
                <a:gd name="T75" fmla="*/ 196 h 302"/>
                <a:gd name="T76" fmla="*/ 162 w 300"/>
                <a:gd name="T77" fmla="*/ 206 h 302"/>
                <a:gd name="T78" fmla="*/ 150 w 300"/>
                <a:gd name="T79" fmla="*/ 206 h 302"/>
                <a:gd name="T80" fmla="*/ 128 w 300"/>
                <a:gd name="T81" fmla="*/ 202 h 302"/>
                <a:gd name="T82" fmla="*/ 112 w 300"/>
                <a:gd name="T83" fmla="*/ 190 h 302"/>
                <a:gd name="T84" fmla="*/ 100 w 300"/>
                <a:gd name="T85" fmla="*/ 172 h 302"/>
                <a:gd name="T86" fmla="*/ 94 w 300"/>
                <a:gd name="T87" fmla="*/ 150 h 302"/>
                <a:gd name="T88" fmla="*/ 96 w 300"/>
                <a:gd name="T89" fmla="*/ 140 h 302"/>
                <a:gd name="T90" fmla="*/ 104 w 300"/>
                <a:gd name="T91" fmla="*/ 120 h 302"/>
                <a:gd name="T92" fmla="*/ 120 w 300"/>
                <a:gd name="T93" fmla="*/ 104 h 302"/>
                <a:gd name="T94" fmla="*/ 140 w 300"/>
                <a:gd name="T95" fmla="*/ 96 h 302"/>
                <a:gd name="T96" fmla="*/ 150 w 300"/>
                <a:gd name="T97" fmla="*/ 9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0" h="302">
                  <a:moveTo>
                    <a:pt x="216" y="16"/>
                  </a:moveTo>
                  <a:lnTo>
                    <a:pt x="216" y="16"/>
                  </a:lnTo>
                  <a:lnTo>
                    <a:pt x="202" y="10"/>
                  </a:lnTo>
                  <a:lnTo>
                    <a:pt x="186" y="4"/>
                  </a:lnTo>
                  <a:lnTo>
                    <a:pt x="168" y="2"/>
                  </a:lnTo>
                  <a:lnTo>
                    <a:pt x="150" y="0"/>
                  </a:lnTo>
                  <a:lnTo>
                    <a:pt x="150" y="0"/>
                  </a:lnTo>
                  <a:lnTo>
                    <a:pt x="136" y="2"/>
                  </a:lnTo>
                  <a:lnTo>
                    <a:pt x="122" y="4"/>
                  </a:lnTo>
                  <a:lnTo>
                    <a:pt x="110" y="6"/>
                  </a:lnTo>
                  <a:lnTo>
                    <a:pt x="96" y="10"/>
                  </a:lnTo>
                  <a:lnTo>
                    <a:pt x="84" y="16"/>
                  </a:lnTo>
                  <a:lnTo>
                    <a:pt x="72" y="22"/>
                  </a:lnTo>
                  <a:lnTo>
                    <a:pt x="52" y="38"/>
                  </a:lnTo>
                  <a:lnTo>
                    <a:pt x="32" y="58"/>
                  </a:lnTo>
                  <a:lnTo>
                    <a:pt x="18" y="80"/>
                  </a:lnTo>
                  <a:lnTo>
                    <a:pt x="12" y="92"/>
                  </a:lnTo>
                  <a:lnTo>
                    <a:pt x="8" y="104"/>
                  </a:lnTo>
                  <a:lnTo>
                    <a:pt x="4" y="118"/>
                  </a:lnTo>
                  <a:lnTo>
                    <a:pt x="2" y="130"/>
                  </a:lnTo>
                  <a:lnTo>
                    <a:pt x="2" y="130"/>
                  </a:lnTo>
                  <a:lnTo>
                    <a:pt x="0" y="150"/>
                  </a:lnTo>
                  <a:lnTo>
                    <a:pt x="0" y="150"/>
                  </a:lnTo>
                  <a:lnTo>
                    <a:pt x="0" y="168"/>
                  </a:lnTo>
                  <a:lnTo>
                    <a:pt x="4" y="186"/>
                  </a:lnTo>
                  <a:lnTo>
                    <a:pt x="8" y="202"/>
                  </a:lnTo>
                  <a:lnTo>
                    <a:pt x="16" y="218"/>
                  </a:lnTo>
                  <a:lnTo>
                    <a:pt x="24" y="232"/>
                  </a:lnTo>
                  <a:lnTo>
                    <a:pt x="34" y="246"/>
                  </a:lnTo>
                  <a:lnTo>
                    <a:pt x="46" y="258"/>
                  </a:lnTo>
                  <a:lnTo>
                    <a:pt x="58" y="270"/>
                  </a:lnTo>
                  <a:lnTo>
                    <a:pt x="58" y="270"/>
                  </a:lnTo>
                  <a:lnTo>
                    <a:pt x="78" y="282"/>
                  </a:lnTo>
                  <a:lnTo>
                    <a:pt x="100" y="292"/>
                  </a:lnTo>
                  <a:lnTo>
                    <a:pt x="124" y="300"/>
                  </a:lnTo>
                  <a:lnTo>
                    <a:pt x="150" y="302"/>
                  </a:lnTo>
                  <a:lnTo>
                    <a:pt x="150" y="302"/>
                  </a:lnTo>
                  <a:lnTo>
                    <a:pt x="176" y="300"/>
                  </a:lnTo>
                  <a:lnTo>
                    <a:pt x="200" y="292"/>
                  </a:lnTo>
                  <a:lnTo>
                    <a:pt x="222" y="282"/>
                  </a:lnTo>
                  <a:lnTo>
                    <a:pt x="244" y="270"/>
                  </a:lnTo>
                  <a:lnTo>
                    <a:pt x="244" y="270"/>
                  </a:lnTo>
                  <a:lnTo>
                    <a:pt x="256" y="258"/>
                  </a:lnTo>
                  <a:lnTo>
                    <a:pt x="266" y="246"/>
                  </a:lnTo>
                  <a:lnTo>
                    <a:pt x="276" y="232"/>
                  </a:lnTo>
                  <a:lnTo>
                    <a:pt x="286" y="218"/>
                  </a:lnTo>
                  <a:lnTo>
                    <a:pt x="292" y="202"/>
                  </a:lnTo>
                  <a:lnTo>
                    <a:pt x="296" y="186"/>
                  </a:lnTo>
                  <a:lnTo>
                    <a:pt x="300" y="168"/>
                  </a:lnTo>
                  <a:lnTo>
                    <a:pt x="300" y="150"/>
                  </a:lnTo>
                  <a:lnTo>
                    <a:pt x="300" y="150"/>
                  </a:lnTo>
                  <a:lnTo>
                    <a:pt x="300" y="128"/>
                  </a:lnTo>
                  <a:lnTo>
                    <a:pt x="294" y="108"/>
                  </a:lnTo>
                  <a:lnTo>
                    <a:pt x="288" y="88"/>
                  </a:lnTo>
                  <a:lnTo>
                    <a:pt x="278" y="70"/>
                  </a:lnTo>
                  <a:lnTo>
                    <a:pt x="266" y="54"/>
                  </a:lnTo>
                  <a:lnTo>
                    <a:pt x="250" y="40"/>
                  </a:lnTo>
                  <a:lnTo>
                    <a:pt x="234" y="26"/>
                  </a:lnTo>
                  <a:lnTo>
                    <a:pt x="216" y="16"/>
                  </a:lnTo>
                  <a:lnTo>
                    <a:pt x="216" y="16"/>
                  </a:lnTo>
                  <a:close/>
                  <a:moveTo>
                    <a:pt x="150" y="96"/>
                  </a:moveTo>
                  <a:lnTo>
                    <a:pt x="150" y="96"/>
                  </a:lnTo>
                  <a:lnTo>
                    <a:pt x="162" y="96"/>
                  </a:lnTo>
                  <a:lnTo>
                    <a:pt x="172" y="100"/>
                  </a:lnTo>
                  <a:lnTo>
                    <a:pt x="182" y="104"/>
                  </a:lnTo>
                  <a:lnTo>
                    <a:pt x="190" y="112"/>
                  </a:lnTo>
                  <a:lnTo>
                    <a:pt x="196" y="120"/>
                  </a:lnTo>
                  <a:lnTo>
                    <a:pt x="202" y="130"/>
                  </a:lnTo>
                  <a:lnTo>
                    <a:pt x="204" y="140"/>
                  </a:lnTo>
                  <a:lnTo>
                    <a:pt x="206" y="150"/>
                  </a:lnTo>
                  <a:lnTo>
                    <a:pt x="206" y="150"/>
                  </a:lnTo>
                  <a:lnTo>
                    <a:pt x="204" y="162"/>
                  </a:lnTo>
                  <a:lnTo>
                    <a:pt x="202" y="172"/>
                  </a:lnTo>
                  <a:lnTo>
                    <a:pt x="196" y="182"/>
                  </a:lnTo>
                  <a:lnTo>
                    <a:pt x="190" y="190"/>
                  </a:lnTo>
                  <a:lnTo>
                    <a:pt x="182" y="196"/>
                  </a:lnTo>
                  <a:lnTo>
                    <a:pt x="172" y="202"/>
                  </a:lnTo>
                  <a:lnTo>
                    <a:pt x="162" y="206"/>
                  </a:lnTo>
                  <a:lnTo>
                    <a:pt x="150" y="206"/>
                  </a:lnTo>
                  <a:lnTo>
                    <a:pt x="150" y="206"/>
                  </a:lnTo>
                  <a:lnTo>
                    <a:pt x="140" y="206"/>
                  </a:lnTo>
                  <a:lnTo>
                    <a:pt x="128" y="202"/>
                  </a:lnTo>
                  <a:lnTo>
                    <a:pt x="120" y="196"/>
                  </a:lnTo>
                  <a:lnTo>
                    <a:pt x="112" y="190"/>
                  </a:lnTo>
                  <a:lnTo>
                    <a:pt x="104" y="182"/>
                  </a:lnTo>
                  <a:lnTo>
                    <a:pt x="100" y="172"/>
                  </a:lnTo>
                  <a:lnTo>
                    <a:pt x="96" y="162"/>
                  </a:lnTo>
                  <a:lnTo>
                    <a:pt x="94" y="150"/>
                  </a:lnTo>
                  <a:lnTo>
                    <a:pt x="94" y="150"/>
                  </a:lnTo>
                  <a:lnTo>
                    <a:pt x="96" y="140"/>
                  </a:lnTo>
                  <a:lnTo>
                    <a:pt x="100" y="130"/>
                  </a:lnTo>
                  <a:lnTo>
                    <a:pt x="104" y="120"/>
                  </a:lnTo>
                  <a:lnTo>
                    <a:pt x="112" y="112"/>
                  </a:lnTo>
                  <a:lnTo>
                    <a:pt x="120" y="104"/>
                  </a:lnTo>
                  <a:lnTo>
                    <a:pt x="128" y="100"/>
                  </a:lnTo>
                  <a:lnTo>
                    <a:pt x="140" y="96"/>
                  </a:lnTo>
                  <a:lnTo>
                    <a:pt x="150" y="96"/>
                  </a:lnTo>
                  <a:lnTo>
                    <a:pt x="150" y="96"/>
                  </a:lnTo>
                  <a:close/>
                </a:path>
              </a:pathLst>
            </a:custGeom>
            <a:solidFill>
              <a:srgbClr val="14246D"/>
            </a:solidFill>
            <a:ln>
              <a:noFill/>
            </a:ln>
          </p:spPr>
          <p:txBody>
            <a:bodyPr vert="horz" wrap="square" lIns="68580" tIns="34290" rIns="68580" bIns="34290" numCol="1" anchor="t" anchorCtr="0" compatLnSpc="1">
              <a:prstTxWarp prst="textNoShape">
                <a:avLst/>
              </a:prstTxWarp>
            </a:bodyPr>
            <a:lstStyle/>
            <a:p>
              <a:pPr defTabSz="884491"/>
              <a:endParaRPr lang="ru-RU" sz="1300">
                <a:solidFill>
                  <a:srgbClr val="414142"/>
                </a:solidFill>
              </a:endParaRPr>
            </a:p>
          </p:txBody>
        </p:sp>
        <p:sp>
          <p:nvSpPr>
            <p:cNvPr id="49" name="Rectangle 35"/>
            <p:cNvSpPr>
              <a:spLocks noChangeArrowheads="1"/>
            </p:cNvSpPr>
            <p:nvPr/>
          </p:nvSpPr>
          <p:spPr bwMode="auto">
            <a:xfrm>
              <a:off x="107950" y="5227638"/>
              <a:ext cx="2006600" cy="133350"/>
            </a:xfrm>
            <a:prstGeom prst="rect">
              <a:avLst/>
            </a:prstGeom>
            <a:solidFill>
              <a:srgbClr val="4596D1"/>
            </a:solidFill>
            <a:ln>
              <a:noFill/>
            </a:ln>
          </p:spPr>
          <p:txBody>
            <a:bodyPr vert="horz" wrap="square" lIns="68580" tIns="34290" rIns="68580" bIns="34290" numCol="1" anchor="t" anchorCtr="0" compatLnSpc="1">
              <a:prstTxWarp prst="textNoShape">
                <a:avLst/>
              </a:prstTxWarp>
            </a:bodyPr>
            <a:lstStyle/>
            <a:p>
              <a:pPr defTabSz="884491"/>
              <a:endParaRPr lang="ru-RU" sz="1300">
                <a:solidFill>
                  <a:srgbClr val="414142"/>
                </a:solidFill>
              </a:endParaRPr>
            </a:p>
          </p:txBody>
        </p:sp>
      </p:grpSp>
      <p:sp>
        <p:nvSpPr>
          <p:cNvPr id="50" name="Овал 49"/>
          <p:cNvSpPr/>
          <p:nvPr/>
        </p:nvSpPr>
        <p:spPr>
          <a:xfrm>
            <a:off x="7894945" y="4222005"/>
            <a:ext cx="637494" cy="637495"/>
          </a:xfrm>
          <a:prstGeom prst="ellipse">
            <a:avLst/>
          </a:prstGeom>
          <a:solidFill>
            <a:schemeClr val="bg1"/>
          </a:solidFill>
          <a:ln>
            <a:solidFill>
              <a:srgbClr val="4596D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525229">
              <a:defRPr/>
            </a:pPr>
            <a:r>
              <a:rPr lang="en-US" sz="1200" b="1" kern="0">
                <a:solidFill>
                  <a:srgbClr val="14246D"/>
                </a:solidFill>
                <a:sym typeface="Arial"/>
              </a:rPr>
              <a:t>U</a:t>
            </a:r>
            <a:r>
              <a:rPr lang="ru-RU" sz="1200" b="1" kern="0">
                <a:solidFill>
                  <a:srgbClr val="14246D"/>
                </a:solidFill>
                <a:sym typeface="Arial"/>
              </a:rPr>
              <a:t>-235</a:t>
            </a:r>
            <a:endParaRPr lang="ru-RU" sz="1200" b="1" kern="0" dirty="0">
              <a:solidFill>
                <a:srgbClr val="14246D"/>
              </a:solidFill>
              <a:sym typeface="Arial"/>
            </a:endParaRPr>
          </a:p>
        </p:txBody>
      </p:sp>
      <p:grpSp>
        <p:nvGrpSpPr>
          <p:cNvPr id="53" name="Group 56"/>
          <p:cNvGrpSpPr/>
          <p:nvPr/>
        </p:nvGrpSpPr>
        <p:grpSpPr>
          <a:xfrm>
            <a:off x="496439" y="4263016"/>
            <a:ext cx="487024" cy="764441"/>
            <a:chOff x="4934796" y="1751013"/>
            <a:chExt cx="2935287" cy="4606075"/>
          </a:xfrm>
          <a:solidFill>
            <a:schemeClr val="accent1"/>
          </a:solidFill>
        </p:grpSpPr>
        <p:sp>
          <p:nvSpPr>
            <p:cNvPr id="64" name="Freeform 13"/>
            <p:cNvSpPr>
              <a:spLocks noEditPoints="1"/>
            </p:cNvSpPr>
            <p:nvPr/>
          </p:nvSpPr>
          <p:spPr bwMode="auto">
            <a:xfrm>
              <a:off x="4934796" y="1751013"/>
              <a:ext cx="2935287" cy="3470275"/>
            </a:xfrm>
            <a:custGeom>
              <a:avLst/>
              <a:gdLst>
                <a:gd name="T0" fmla="*/ 774 w 1058"/>
                <a:gd name="T1" fmla="*/ 1252 h 1252"/>
                <a:gd name="T2" fmla="*/ 283 w 1058"/>
                <a:gd name="T3" fmla="*/ 1252 h 1252"/>
                <a:gd name="T4" fmla="*/ 248 w 1058"/>
                <a:gd name="T5" fmla="*/ 1218 h 1252"/>
                <a:gd name="T6" fmla="*/ 142 w 1058"/>
                <a:gd name="T7" fmla="*/ 887 h 1252"/>
                <a:gd name="T8" fmla="*/ 110 w 1058"/>
                <a:gd name="T9" fmla="*/ 831 h 1252"/>
                <a:gd name="T10" fmla="*/ 0 w 1058"/>
                <a:gd name="T11" fmla="*/ 529 h 1252"/>
                <a:gd name="T12" fmla="*/ 529 w 1058"/>
                <a:gd name="T13" fmla="*/ 0 h 1252"/>
                <a:gd name="T14" fmla="*/ 1058 w 1058"/>
                <a:gd name="T15" fmla="*/ 529 h 1252"/>
                <a:gd name="T16" fmla="*/ 947 w 1058"/>
                <a:gd name="T17" fmla="*/ 831 h 1252"/>
                <a:gd name="T18" fmla="*/ 916 w 1058"/>
                <a:gd name="T19" fmla="*/ 887 h 1252"/>
                <a:gd name="T20" fmla="*/ 810 w 1058"/>
                <a:gd name="T21" fmla="*/ 1218 h 1252"/>
                <a:gd name="T22" fmla="*/ 774 w 1058"/>
                <a:gd name="T23" fmla="*/ 1252 h 1252"/>
                <a:gd name="T24" fmla="*/ 315 w 1058"/>
                <a:gd name="T25" fmla="*/ 1180 h 1252"/>
                <a:gd name="T26" fmla="*/ 742 w 1058"/>
                <a:gd name="T27" fmla="*/ 1180 h 1252"/>
                <a:gd name="T28" fmla="*/ 851 w 1058"/>
                <a:gd name="T29" fmla="*/ 857 h 1252"/>
                <a:gd name="T30" fmla="*/ 885 w 1058"/>
                <a:gd name="T31" fmla="*/ 794 h 1252"/>
                <a:gd name="T32" fmla="*/ 986 w 1058"/>
                <a:gd name="T33" fmla="*/ 529 h 1252"/>
                <a:gd name="T34" fmla="*/ 529 w 1058"/>
                <a:gd name="T35" fmla="*/ 72 h 1252"/>
                <a:gd name="T36" fmla="*/ 72 w 1058"/>
                <a:gd name="T37" fmla="*/ 529 h 1252"/>
                <a:gd name="T38" fmla="*/ 172 w 1058"/>
                <a:gd name="T39" fmla="*/ 794 h 1252"/>
                <a:gd name="T40" fmla="*/ 207 w 1058"/>
                <a:gd name="T41" fmla="*/ 857 h 1252"/>
                <a:gd name="T42" fmla="*/ 315 w 1058"/>
                <a:gd name="T43" fmla="*/ 1180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58" h="1252">
                  <a:moveTo>
                    <a:pt x="774" y="1252"/>
                  </a:moveTo>
                  <a:cubicBezTo>
                    <a:pt x="283" y="1252"/>
                    <a:pt x="283" y="1252"/>
                    <a:pt x="283" y="1252"/>
                  </a:cubicBezTo>
                  <a:cubicBezTo>
                    <a:pt x="264" y="1252"/>
                    <a:pt x="249" y="1237"/>
                    <a:pt x="248" y="1218"/>
                  </a:cubicBezTo>
                  <a:cubicBezTo>
                    <a:pt x="247" y="1217"/>
                    <a:pt x="239" y="1097"/>
                    <a:pt x="142" y="887"/>
                  </a:cubicBezTo>
                  <a:cubicBezTo>
                    <a:pt x="135" y="873"/>
                    <a:pt x="123" y="853"/>
                    <a:pt x="110" y="831"/>
                  </a:cubicBezTo>
                  <a:cubicBezTo>
                    <a:pt x="66" y="755"/>
                    <a:pt x="0" y="640"/>
                    <a:pt x="0" y="529"/>
                  </a:cubicBezTo>
                  <a:cubicBezTo>
                    <a:pt x="0" y="238"/>
                    <a:pt x="237" y="0"/>
                    <a:pt x="529" y="0"/>
                  </a:cubicBezTo>
                  <a:cubicBezTo>
                    <a:pt x="820" y="0"/>
                    <a:pt x="1058" y="238"/>
                    <a:pt x="1058" y="529"/>
                  </a:cubicBezTo>
                  <a:cubicBezTo>
                    <a:pt x="1058" y="640"/>
                    <a:pt x="991" y="755"/>
                    <a:pt x="947" y="831"/>
                  </a:cubicBezTo>
                  <a:cubicBezTo>
                    <a:pt x="934" y="853"/>
                    <a:pt x="923" y="873"/>
                    <a:pt x="916" y="887"/>
                  </a:cubicBezTo>
                  <a:cubicBezTo>
                    <a:pt x="818" y="1097"/>
                    <a:pt x="810" y="1217"/>
                    <a:pt x="810" y="1218"/>
                  </a:cubicBezTo>
                  <a:cubicBezTo>
                    <a:pt x="809" y="1237"/>
                    <a:pt x="793" y="1252"/>
                    <a:pt x="774" y="1252"/>
                  </a:cubicBezTo>
                  <a:close/>
                  <a:moveTo>
                    <a:pt x="315" y="1180"/>
                  </a:moveTo>
                  <a:cubicBezTo>
                    <a:pt x="742" y="1180"/>
                    <a:pt x="742" y="1180"/>
                    <a:pt x="742" y="1180"/>
                  </a:cubicBezTo>
                  <a:cubicBezTo>
                    <a:pt x="751" y="1127"/>
                    <a:pt x="776" y="1017"/>
                    <a:pt x="851" y="857"/>
                  </a:cubicBezTo>
                  <a:cubicBezTo>
                    <a:pt x="859" y="840"/>
                    <a:pt x="871" y="819"/>
                    <a:pt x="885" y="794"/>
                  </a:cubicBezTo>
                  <a:cubicBezTo>
                    <a:pt x="928" y="721"/>
                    <a:pt x="986" y="621"/>
                    <a:pt x="986" y="529"/>
                  </a:cubicBezTo>
                  <a:cubicBezTo>
                    <a:pt x="986" y="277"/>
                    <a:pt x="781" y="72"/>
                    <a:pt x="529" y="72"/>
                  </a:cubicBezTo>
                  <a:cubicBezTo>
                    <a:pt x="277" y="72"/>
                    <a:pt x="72" y="277"/>
                    <a:pt x="72" y="529"/>
                  </a:cubicBezTo>
                  <a:cubicBezTo>
                    <a:pt x="72" y="621"/>
                    <a:pt x="130" y="721"/>
                    <a:pt x="172" y="794"/>
                  </a:cubicBezTo>
                  <a:cubicBezTo>
                    <a:pt x="187" y="819"/>
                    <a:pt x="199" y="840"/>
                    <a:pt x="207" y="857"/>
                  </a:cubicBezTo>
                  <a:cubicBezTo>
                    <a:pt x="281" y="1017"/>
                    <a:pt x="307" y="1127"/>
                    <a:pt x="315" y="1180"/>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a:solidFill>
                  <a:srgbClr val="191919"/>
                </a:solidFill>
                <a:latin typeface="Roboto Light" charset="0"/>
              </a:endParaRPr>
            </a:p>
          </p:txBody>
        </p:sp>
        <p:sp>
          <p:nvSpPr>
            <p:cNvPr id="65" name="Freeform 16"/>
            <p:cNvSpPr>
              <a:spLocks noEditPoints="1"/>
            </p:cNvSpPr>
            <p:nvPr/>
          </p:nvSpPr>
          <p:spPr bwMode="auto">
            <a:xfrm>
              <a:off x="5672983" y="5153763"/>
              <a:ext cx="1500187" cy="1203325"/>
            </a:xfrm>
            <a:custGeom>
              <a:avLst/>
              <a:gdLst>
                <a:gd name="T0" fmla="*/ 495 w 541"/>
                <a:gd name="T1" fmla="*/ 223 h 434"/>
                <a:gd name="T2" fmla="*/ 540 w 541"/>
                <a:gd name="T3" fmla="*/ 168 h 434"/>
                <a:gd name="T4" fmla="*/ 494 w 541"/>
                <a:gd name="T5" fmla="*/ 112 h 434"/>
                <a:gd name="T6" fmla="*/ 540 w 541"/>
                <a:gd name="T7" fmla="*/ 57 h 434"/>
                <a:gd name="T8" fmla="*/ 483 w 541"/>
                <a:gd name="T9" fmla="*/ 0 h 434"/>
                <a:gd name="T10" fmla="*/ 56 w 541"/>
                <a:gd name="T11" fmla="*/ 0 h 434"/>
                <a:gd name="T12" fmla="*/ 0 w 541"/>
                <a:gd name="T13" fmla="*/ 56 h 434"/>
                <a:gd name="T14" fmla="*/ 46 w 541"/>
                <a:gd name="T15" fmla="*/ 112 h 434"/>
                <a:gd name="T16" fmla="*/ 0 w 541"/>
                <a:gd name="T17" fmla="*/ 167 h 434"/>
                <a:gd name="T18" fmla="*/ 46 w 541"/>
                <a:gd name="T19" fmla="*/ 223 h 434"/>
                <a:gd name="T20" fmla="*/ 1 w 541"/>
                <a:gd name="T21" fmla="*/ 278 h 434"/>
                <a:gd name="T22" fmla="*/ 57 w 541"/>
                <a:gd name="T23" fmla="*/ 334 h 434"/>
                <a:gd name="T24" fmla="*/ 157 w 541"/>
                <a:gd name="T25" fmla="*/ 334 h 434"/>
                <a:gd name="T26" fmla="*/ 161 w 541"/>
                <a:gd name="T27" fmla="*/ 351 h 434"/>
                <a:gd name="T28" fmla="*/ 272 w 541"/>
                <a:gd name="T29" fmla="*/ 433 h 434"/>
                <a:gd name="T30" fmla="*/ 383 w 541"/>
                <a:gd name="T31" fmla="*/ 335 h 434"/>
                <a:gd name="T32" fmla="*/ 484 w 541"/>
                <a:gd name="T33" fmla="*/ 335 h 434"/>
                <a:gd name="T34" fmla="*/ 541 w 541"/>
                <a:gd name="T35" fmla="*/ 278 h 434"/>
                <a:gd name="T36" fmla="*/ 495 w 541"/>
                <a:gd name="T37" fmla="*/ 223 h 434"/>
                <a:gd name="T38" fmla="*/ 423 w 541"/>
                <a:gd name="T39" fmla="*/ 241 h 434"/>
                <a:gd name="T40" fmla="*/ 118 w 541"/>
                <a:gd name="T41" fmla="*/ 241 h 434"/>
                <a:gd name="T42" fmla="*/ 104 w 541"/>
                <a:gd name="T43" fmla="*/ 227 h 434"/>
                <a:gd name="T44" fmla="*/ 118 w 541"/>
                <a:gd name="T45" fmla="*/ 213 h 434"/>
                <a:gd name="T46" fmla="*/ 423 w 541"/>
                <a:gd name="T47" fmla="*/ 213 h 434"/>
                <a:gd name="T48" fmla="*/ 437 w 541"/>
                <a:gd name="T49" fmla="*/ 227 h 434"/>
                <a:gd name="T50" fmla="*/ 423 w 541"/>
                <a:gd name="T51" fmla="*/ 241 h 434"/>
                <a:gd name="T52" fmla="*/ 423 w 541"/>
                <a:gd name="T53" fmla="*/ 116 h 434"/>
                <a:gd name="T54" fmla="*/ 118 w 541"/>
                <a:gd name="T55" fmla="*/ 116 h 434"/>
                <a:gd name="T56" fmla="*/ 104 w 541"/>
                <a:gd name="T57" fmla="*/ 102 h 434"/>
                <a:gd name="T58" fmla="*/ 118 w 541"/>
                <a:gd name="T59" fmla="*/ 88 h 434"/>
                <a:gd name="T60" fmla="*/ 423 w 541"/>
                <a:gd name="T61" fmla="*/ 88 h 434"/>
                <a:gd name="T62" fmla="*/ 437 w 541"/>
                <a:gd name="T63" fmla="*/ 102 h 434"/>
                <a:gd name="T64" fmla="*/ 423 w 541"/>
                <a:gd name="T65" fmla="*/ 116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1" h="434">
                  <a:moveTo>
                    <a:pt x="495" y="223"/>
                  </a:moveTo>
                  <a:cubicBezTo>
                    <a:pt x="521" y="218"/>
                    <a:pt x="540" y="195"/>
                    <a:pt x="540" y="168"/>
                  </a:cubicBezTo>
                  <a:cubicBezTo>
                    <a:pt x="540" y="140"/>
                    <a:pt x="520" y="117"/>
                    <a:pt x="494" y="112"/>
                  </a:cubicBezTo>
                  <a:cubicBezTo>
                    <a:pt x="520" y="107"/>
                    <a:pt x="540" y="84"/>
                    <a:pt x="540" y="57"/>
                  </a:cubicBezTo>
                  <a:cubicBezTo>
                    <a:pt x="540" y="26"/>
                    <a:pt x="514" y="0"/>
                    <a:pt x="483" y="0"/>
                  </a:cubicBezTo>
                  <a:cubicBezTo>
                    <a:pt x="56" y="0"/>
                    <a:pt x="56" y="0"/>
                    <a:pt x="56" y="0"/>
                  </a:cubicBezTo>
                  <a:cubicBezTo>
                    <a:pt x="25" y="0"/>
                    <a:pt x="0" y="25"/>
                    <a:pt x="0" y="56"/>
                  </a:cubicBezTo>
                  <a:cubicBezTo>
                    <a:pt x="0" y="84"/>
                    <a:pt x="20" y="107"/>
                    <a:pt x="46" y="112"/>
                  </a:cubicBezTo>
                  <a:cubicBezTo>
                    <a:pt x="20" y="117"/>
                    <a:pt x="0" y="140"/>
                    <a:pt x="0" y="167"/>
                  </a:cubicBezTo>
                  <a:cubicBezTo>
                    <a:pt x="0" y="195"/>
                    <a:pt x="20" y="218"/>
                    <a:pt x="46" y="223"/>
                  </a:cubicBezTo>
                  <a:cubicBezTo>
                    <a:pt x="20" y="228"/>
                    <a:pt x="1" y="250"/>
                    <a:pt x="1" y="278"/>
                  </a:cubicBezTo>
                  <a:cubicBezTo>
                    <a:pt x="1" y="309"/>
                    <a:pt x="26" y="334"/>
                    <a:pt x="57" y="334"/>
                  </a:cubicBezTo>
                  <a:cubicBezTo>
                    <a:pt x="157" y="334"/>
                    <a:pt x="157" y="334"/>
                    <a:pt x="157" y="334"/>
                  </a:cubicBezTo>
                  <a:cubicBezTo>
                    <a:pt x="158" y="340"/>
                    <a:pt x="159" y="345"/>
                    <a:pt x="161" y="351"/>
                  </a:cubicBezTo>
                  <a:cubicBezTo>
                    <a:pt x="175" y="399"/>
                    <a:pt x="219" y="434"/>
                    <a:pt x="272" y="433"/>
                  </a:cubicBezTo>
                  <a:cubicBezTo>
                    <a:pt x="331" y="433"/>
                    <a:pt x="380" y="392"/>
                    <a:pt x="383" y="335"/>
                  </a:cubicBezTo>
                  <a:cubicBezTo>
                    <a:pt x="484" y="335"/>
                    <a:pt x="484" y="335"/>
                    <a:pt x="484" y="335"/>
                  </a:cubicBezTo>
                  <a:cubicBezTo>
                    <a:pt x="515" y="335"/>
                    <a:pt x="541" y="309"/>
                    <a:pt x="541" y="278"/>
                  </a:cubicBezTo>
                  <a:cubicBezTo>
                    <a:pt x="541" y="251"/>
                    <a:pt x="521" y="228"/>
                    <a:pt x="495" y="223"/>
                  </a:cubicBezTo>
                  <a:close/>
                  <a:moveTo>
                    <a:pt x="423" y="241"/>
                  </a:moveTo>
                  <a:cubicBezTo>
                    <a:pt x="118" y="241"/>
                    <a:pt x="118" y="241"/>
                    <a:pt x="118" y="241"/>
                  </a:cubicBezTo>
                  <a:cubicBezTo>
                    <a:pt x="110" y="241"/>
                    <a:pt x="104" y="234"/>
                    <a:pt x="104" y="227"/>
                  </a:cubicBezTo>
                  <a:cubicBezTo>
                    <a:pt x="104" y="219"/>
                    <a:pt x="110" y="213"/>
                    <a:pt x="118" y="213"/>
                  </a:cubicBezTo>
                  <a:cubicBezTo>
                    <a:pt x="423" y="213"/>
                    <a:pt x="423" y="213"/>
                    <a:pt x="423" y="213"/>
                  </a:cubicBezTo>
                  <a:cubicBezTo>
                    <a:pt x="431" y="213"/>
                    <a:pt x="437" y="219"/>
                    <a:pt x="437" y="227"/>
                  </a:cubicBezTo>
                  <a:cubicBezTo>
                    <a:pt x="437" y="234"/>
                    <a:pt x="431" y="241"/>
                    <a:pt x="423" y="241"/>
                  </a:cubicBezTo>
                  <a:close/>
                  <a:moveTo>
                    <a:pt x="423" y="116"/>
                  </a:moveTo>
                  <a:cubicBezTo>
                    <a:pt x="118" y="116"/>
                    <a:pt x="118" y="116"/>
                    <a:pt x="118" y="116"/>
                  </a:cubicBezTo>
                  <a:cubicBezTo>
                    <a:pt x="110" y="116"/>
                    <a:pt x="104" y="110"/>
                    <a:pt x="104" y="102"/>
                  </a:cubicBezTo>
                  <a:cubicBezTo>
                    <a:pt x="104" y="95"/>
                    <a:pt x="110" y="88"/>
                    <a:pt x="118" y="88"/>
                  </a:cubicBezTo>
                  <a:cubicBezTo>
                    <a:pt x="423" y="88"/>
                    <a:pt x="423" y="88"/>
                    <a:pt x="423" y="88"/>
                  </a:cubicBezTo>
                  <a:cubicBezTo>
                    <a:pt x="431" y="88"/>
                    <a:pt x="437" y="95"/>
                    <a:pt x="437" y="102"/>
                  </a:cubicBezTo>
                  <a:cubicBezTo>
                    <a:pt x="437" y="110"/>
                    <a:pt x="431" y="116"/>
                    <a:pt x="423" y="116"/>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a:solidFill>
                  <a:srgbClr val="191919"/>
                </a:solidFill>
                <a:latin typeface="Roboto Light" charset="0"/>
              </a:endParaRPr>
            </a:p>
          </p:txBody>
        </p:sp>
      </p:grpSp>
      <p:sp>
        <p:nvSpPr>
          <p:cNvPr id="67" name="Freeform 5"/>
          <p:cNvSpPr>
            <a:spLocks noEditPoints="1"/>
          </p:cNvSpPr>
          <p:nvPr/>
        </p:nvSpPr>
        <p:spPr bwMode="auto">
          <a:xfrm>
            <a:off x="7860160" y="2276133"/>
            <a:ext cx="480972" cy="480972"/>
          </a:xfrm>
          <a:custGeom>
            <a:avLst/>
            <a:gdLst>
              <a:gd name="T0" fmla="*/ 218 w 364"/>
              <a:gd name="T1" fmla="*/ 4 h 364"/>
              <a:gd name="T2" fmla="*/ 284 w 364"/>
              <a:gd name="T3" fmla="*/ 32 h 364"/>
              <a:gd name="T4" fmla="*/ 332 w 364"/>
              <a:gd name="T5" fmla="*/ 80 h 364"/>
              <a:gd name="T6" fmla="*/ 360 w 364"/>
              <a:gd name="T7" fmla="*/ 146 h 364"/>
              <a:gd name="T8" fmla="*/ 362 w 364"/>
              <a:gd name="T9" fmla="*/ 200 h 364"/>
              <a:gd name="T10" fmla="*/ 342 w 364"/>
              <a:gd name="T11" fmla="*/ 268 h 364"/>
              <a:gd name="T12" fmla="*/ 298 w 364"/>
              <a:gd name="T13" fmla="*/ 322 h 364"/>
              <a:gd name="T14" fmla="*/ 236 w 364"/>
              <a:gd name="T15" fmla="*/ 356 h 364"/>
              <a:gd name="T16" fmla="*/ 182 w 364"/>
              <a:gd name="T17" fmla="*/ 364 h 364"/>
              <a:gd name="T18" fmla="*/ 110 w 364"/>
              <a:gd name="T19" fmla="*/ 350 h 364"/>
              <a:gd name="T20" fmla="*/ 54 w 364"/>
              <a:gd name="T21" fmla="*/ 310 h 364"/>
              <a:gd name="T22" fmla="*/ 14 w 364"/>
              <a:gd name="T23" fmla="*/ 252 h 364"/>
              <a:gd name="T24" fmla="*/ 0 w 364"/>
              <a:gd name="T25" fmla="*/ 182 h 364"/>
              <a:gd name="T26" fmla="*/ 8 w 364"/>
              <a:gd name="T27" fmla="*/ 128 h 364"/>
              <a:gd name="T28" fmla="*/ 42 w 364"/>
              <a:gd name="T29" fmla="*/ 66 h 364"/>
              <a:gd name="T30" fmla="*/ 94 w 364"/>
              <a:gd name="T31" fmla="*/ 22 h 364"/>
              <a:gd name="T32" fmla="*/ 162 w 364"/>
              <a:gd name="T33" fmla="*/ 2 h 364"/>
              <a:gd name="T34" fmla="*/ 294 w 364"/>
              <a:gd name="T35" fmla="*/ 160 h 364"/>
              <a:gd name="T36" fmla="*/ 316 w 364"/>
              <a:gd name="T37" fmla="*/ 156 h 364"/>
              <a:gd name="T38" fmla="*/ 344 w 364"/>
              <a:gd name="T39" fmla="*/ 180 h 364"/>
              <a:gd name="T40" fmla="*/ 332 w 364"/>
              <a:gd name="T41" fmla="*/ 118 h 364"/>
              <a:gd name="T42" fmla="*/ 298 w 364"/>
              <a:gd name="T43" fmla="*/ 68 h 364"/>
              <a:gd name="T44" fmla="*/ 248 w 364"/>
              <a:gd name="T45" fmla="*/ 34 h 364"/>
              <a:gd name="T46" fmla="*/ 186 w 364"/>
              <a:gd name="T47" fmla="*/ 22 h 364"/>
              <a:gd name="T48" fmla="*/ 224 w 364"/>
              <a:gd name="T49" fmla="*/ 42 h 364"/>
              <a:gd name="T50" fmla="*/ 236 w 364"/>
              <a:gd name="T51" fmla="*/ 64 h 364"/>
              <a:gd name="T52" fmla="*/ 216 w 364"/>
              <a:gd name="T53" fmla="*/ 98 h 364"/>
              <a:gd name="T54" fmla="*/ 220 w 364"/>
              <a:gd name="T55" fmla="*/ 114 h 364"/>
              <a:gd name="T56" fmla="*/ 250 w 364"/>
              <a:gd name="T57" fmla="*/ 102 h 364"/>
              <a:gd name="T58" fmla="*/ 272 w 364"/>
              <a:gd name="T59" fmla="*/ 102 h 364"/>
              <a:gd name="T60" fmla="*/ 280 w 364"/>
              <a:gd name="T61" fmla="*/ 128 h 364"/>
              <a:gd name="T62" fmla="*/ 262 w 364"/>
              <a:gd name="T63" fmla="*/ 152 h 364"/>
              <a:gd name="T64" fmla="*/ 214 w 364"/>
              <a:gd name="T65" fmla="*/ 160 h 364"/>
              <a:gd name="T66" fmla="*/ 194 w 364"/>
              <a:gd name="T67" fmla="*/ 182 h 364"/>
              <a:gd name="T68" fmla="*/ 220 w 364"/>
              <a:gd name="T69" fmla="*/ 204 h 364"/>
              <a:gd name="T70" fmla="*/ 258 w 364"/>
              <a:gd name="T71" fmla="*/ 196 h 364"/>
              <a:gd name="T72" fmla="*/ 294 w 364"/>
              <a:gd name="T73" fmla="*/ 160 h 364"/>
              <a:gd name="T74" fmla="*/ 322 w 364"/>
              <a:gd name="T75" fmla="*/ 252 h 364"/>
              <a:gd name="T76" fmla="*/ 292 w 364"/>
              <a:gd name="T77" fmla="*/ 268 h 364"/>
              <a:gd name="T78" fmla="*/ 278 w 364"/>
              <a:gd name="T79" fmla="*/ 268 h 364"/>
              <a:gd name="T80" fmla="*/ 274 w 364"/>
              <a:gd name="T81" fmla="*/ 302 h 364"/>
              <a:gd name="T82" fmla="*/ 262 w 364"/>
              <a:gd name="T83" fmla="*/ 310 h 364"/>
              <a:gd name="T84" fmla="*/ 268 w 364"/>
              <a:gd name="T85" fmla="*/ 314 h 364"/>
              <a:gd name="T86" fmla="*/ 314 w 364"/>
              <a:gd name="T87" fmla="*/ 272 h 364"/>
              <a:gd name="T88" fmla="*/ 178 w 364"/>
              <a:gd name="T89" fmla="*/ 346 h 364"/>
              <a:gd name="T90" fmla="*/ 194 w 364"/>
              <a:gd name="T91" fmla="*/ 326 h 364"/>
              <a:gd name="T92" fmla="*/ 188 w 364"/>
              <a:gd name="T93" fmla="*/ 310 h 364"/>
              <a:gd name="T94" fmla="*/ 148 w 364"/>
              <a:gd name="T95" fmla="*/ 302 h 364"/>
              <a:gd name="T96" fmla="*/ 144 w 364"/>
              <a:gd name="T97" fmla="*/ 288 h 364"/>
              <a:gd name="T98" fmla="*/ 178 w 364"/>
              <a:gd name="T99" fmla="*/ 274 h 364"/>
              <a:gd name="T100" fmla="*/ 188 w 364"/>
              <a:gd name="T101" fmla="*/ 272 h 364"/>
              <a:gd name="T102" fmla="*/ 192 w 364"/>
              <a:gd name="T103" fmla="*/ 254 h 364"/>
              <a:gd name="T104" fmla="*/ 182 w 364"/>
              <a:gd name="T105" fmla="*/ 244 h 364"/>
              <a:gd name="T106" fmla="*/ 134 w 364"/>
              <a:gd name="T107" fmla="*/ 256 h 364"/>
              <a:gd name="T108" fmla="*/ 82 w 364"/>
              <a:gd name="T109" fmla="*/ 248 h 364"/>
              <a:gd name="T110" fmla="*/ 24 w 364"/>
              <a:gd name="T111" fmla="*/ 194 h 364"/>
              <a:gd name="T112" fmla="*/ 22 w 364"/>
              <a:gd name="T113" fmla="*/ 218 h 364"/>
              <a:gd name="T114" fmla="*/ 46 w 364"/>
              <a:gd name="T115" fmla="*/ 274 h 364"/>
              <a:gd name="T116" fmla="*/ 90 w 364"/>
              <a:gd name="T117" fmla="*/ 318 h 364"/>
              <a:gd name="T118" fmla="*/ 146 w 364"/>
              <a:gd name="T119" fmla="*/ 342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4" h="364">
                <a:moveTo>
                  <a:pt x="182" y="0"/>
                </a:moveTo>
                <a:lnTo>
                  <a:pt x="182" y="0"/>
                </a:lnTo>
                <a:lnTo>
                  <a:pt x="200" y="2"/>
                </a:lnTo>
                <a:lnTo>
                  <a:pt x="218" y="4"/>
                </a:lnTo>
                <a:lnTo>
                  <a:pt x="236" y="8"/>
                </a:lnTo>
                <a:lnTo>
                  <a:pt x="252" y="14"/>
                </a:lnTo>
                <a:lnTo>
                  <a:pt x="268" y="22"/>
                </a:lnTo>
                <a:lnTo>
                  <a:pt x="284" y="32"/>
                </a:lnTo>
                <a:lnTo>
                  <a:pt x="298" y="42"/>
                </a:lnTo>
                <a:lnTo>
                  <a:pt x="310" y="54"/>
                </a:lnTo>
                <a:lnTo>
                  <a:pt x="322" y="66"/>
                </a:lnTo>
                <a:lnTo>
                  <a:pt x="332" y="80"/>
                </a:lnTo>
                <a:lnTo>
                  <a:pt x="342" y="96"/>
                </a:lnTo>
                <a:lnTo>
                  <a:pt x="348" y="112"/>
                </a:lnTo>
                <a:lnTo>
                  <a:pt x="354" y="128"/>
                </a:lnTo>
                <a:lnTo>
                  <a:pt x="360" y="146"/>
                </a:lnTo>
                <a:lnTo>
                  <a:pt x="362" y="164"/>
                </a:lnTo>
                <a:lnTo>
                  <a:pt x="364" y="182"/>
                </a:lnTo>
                <a:lnTo>
                  <a:pt x="364" y="182"/>
                </a:lnTo>
                <a:lnTo>
                  <a:pt x="362" y="200"/>
                </a:lnTo>
                <a:lnTo>
                  <a:pt x="360" y="218"/>
                </a:lnTo>
                <a:lnTo>
                  <a:pt x="354" y="236"/>
                </a:lnTo>
                <a:lnTo>
                  <a:pt x="348" y="252"/>
                </a:lnTo>
                <a:lnTo>
                  <a:pt x="342" y="268"/>
                </a:lnTo>
                <a:lnTo>
                  <a:pt x="332" y="284"/>
                </a:lnTo>
                <a:lnTo>
                  <a:pt x="322" y="298"/>
                </a:lnTo>
                <a:lnTo>
                  <a:pt x="310" y="310"/>
                </a:lnTo>
                <a:lnTo>
                  <a:pt x="298" y="322"/>
                </a:lnTo>
                <a:lnTo>
                  <a:pt x="284" y="332"/>
                </a:lnTo>
                <a:lnTo>
                  <a:pt x="268" y="342"/>
                </a:lnTo>
                <a:lnTo>
                  <a:pt x="252" y="350"/>
                </a:lnTo>
                <a:lnTo>
                  <a:pt x="236" y="356"/>
                </a:lnTo>
                <a:lnTo>
                  <a:pt x="218" y="360"/>
                </a:lnTo>
                <a:lnTo>
                  <a:pt x="200" y="362"/>
                </a:lnTo>
                <a:lnTo>
                  <a:pt x="182" y="364"/>
                </a:lnTo>
                <a:lnTo>
                  <a:pt x="182" y="364"/>
                </a:lnTo>
                <a:lnTo>
                  <a:pt x="162" y="362"/>
                </a:lnTo>
                <a:lnTo>
                  <a:pt x="144" y="360"/>
                </a:lnTo>
                <a:lnTo>
                  <a:pt x="128" y="356"/>
                </a:lnTo>
                <a:lnTo>
                  <a:pt x="110" y="350"/>
                </a:lnTo>
                <a:lnTo>
                  <a:pt x="94" y="342"/>
                </a:lnTo>
                <a:lnTo>
                  <a:pt x="80" y="332"/>
                </a:lnTo>
                <a:lnTo>
                  <a:pt x="66" y="322"/>
                </a:lnTo>
                <a:lnTo>
                  <a:pt x="54" y="310"/>
                </a:lnTo>
                <a:lnTo>
                  <a:pt x="42" y="298"/>
                </a:lnTo>
                <a:lnTo>
                  <a:pt x="30" y="284"/>
                </a:lnTo>
                <a:lnTo>
                  <a:pt x="22" y="268"/>
                </a:lnTo>
                <a:lnTo>
                  <a:pt x="14" y="252"/>
                </a:lnTo>
                <a:lnTo>
                  <a:pt x="8" y="236"/>
                </a:lnTo>
                <a:lnTo>
                  <a:pt x="4" y="218"/>
                </a:lnTo>
                <a:lnTo>
                  <a:pt x="0" y="200"/>
                </a:lnTo>
                <a:lnTo>
                  <a:pt x="0" y="182"/>
                </a:lnTo>
                <a:lnTo>
                  <a:pt x="0" y="182"/>
                </a:lnTo>
                <a:lnTo>
                  <a:pt x="0" y="164"/>
                </a:lnTo>
                <a:lnTo>
                  <a:pt x="4" y="146"/>
                </a:lnTo>
                <a:lnTo>
                  <a:pt x="8" y="128"/>
                </a:lnTo>
                <a:lnTo>
                  <a:pt x="14" y="112"/>
                </a:lnTo>
                <a:lnTo>
                  <a:pt x="22" y="96"/>
                </a:lnTo>
                <a:lnTo>
                  <a:pt x="30" y="80"/>
                </a:lnTo>
                <a:lnTo>
                  <a:pt x="42" y="66"/>
                </a:lnTo>
                <a:lnTo>
                  <a:pt x="54" y="54"/>
                </a:lnTo>
                <a:lnTo>
                  <a:pt x="66" y="42"/>
                </a:lnTo>
                <a:lnTo>
                  <a:pt x="80" y="32"/>
                </a:lnTo>
                <a:lnTo>
                  <a:pt x="94" y="22"/>
                </a:lnTo>
                <a:lnTo>
                  <a:pt x="110" y="14"/>
                </a:lnTo>
                <a:lnTo>
                  <a:pt x="128" y="8"/>
                </a:lnTo>
                <a:lnTo>
                  <a:pt x="144" y="4"/>
                </a:lnTo>
                <a:lnTo>
                  <a:pt x="162" y="2"/>
                </a:lnTo>
                <a:lnTo>
                  <a:pt x="182" y="0"/>
                </a:lnTo>
                <a:lnTo>
                  <a:pt x="182" y="0"/>
                </a:lnTo>
                <a:close/>
                <a:moveTo>
                  <a:pt x="294" y="160"/>
                </a:moveTo>
                <a:lnTo>
                  <a:pt x="294" y="160"/>
                </a:lnTo>
                <a:lnTo>
                  <a:pt x="296" y="156"/>
                </a:lnTo>
                <a:lnTo>
                  <a:pt x="300" y="154"/>
                </a:lnTo>
                <a:lnTo>
                  <a:pt x="308" y="154"/>
                </a:lnTo>
                <a:lnTo>
                  <a:pt x="316" y="156"/>
                </a:lnTo>
                <a:lnTo>
                  <a:pt x="324" y="162"/>
                </a:lnTo>
                <a:lnTo>
                  <a:pt x="338" y="174"/>
                </a:lnTo>
                <a:lnTo>
                  <a:pt x="344" y="180"/>
                </a:lnTo>
                <a:lnTo>
                  <a:pt x="344" y="180"/>
                </a:lnTo>
                <a:lnTo>
                  <a:pt x="344" y="164"/>
                </a:lnTo>
                <a:lnTo>
                  <a:pt x="342" y="148"/>
                </a:lnTo>
                <a:lnTo>
                  <a:pt x="338" y="134"/>
                </a:lnTo>
                <a:lnTo>
                  <a:pt x="332" y="118"/>
                </a:lnTo>
                <a:lnTo>
                  <a:pt x="326" y="104"/>
                </a:lnTo>
                <a:lnTo>
                  <a:pt x="318" y="92"/>
                </a:lnTo>
                <a:lnTo>
                  <a:pt x="308" y="80"/>
                </a:lnTo>
                <a:lnTo>
                  <a:pt x="298" y="68"/>
                </a:lnTo>
                <a:lnTo>
                  <a:pt x="286" y="58"/>
                </a:lnTo>
                <a:lnTo>
                  <a:pt x="274" y="48"/>
                </a:lnTo>
                <a:lnTo>
                  <a:pt x="262" y="40"/>
                </a:lnTo>
                <a:lnTo>
                  <a:pt x="248" y="34"/>
                </a:lnTo>
                <a:lnTo>
                  <a:pt x="232" y="28"/>
                </a:lnTo>
                <a:lnTo>
                  <a:pt x="218" y="24"/>
                </a:lnTo>
                <a:lnTo>
                  <a:pt x="202" y="22"/>
                </a:lnTo>
                <a:lnTo>
                  <a:pt x="186" y="22"/>
                </a:lnTo>
                <a:lnTo>
                  <a:pt x="186" y="22"/>
                </a:lnTo>
                <a:lnTo>
                  <a:pt x="194" y="26"/>
                </a:lnTo>
                <a:lnTo>
                  <a:pt x="214" y="36"/>
                </a:lnTo>
                <a:lnTo>
                  <a:pt x="224" y="42"/>
                </a:lnTo>
                <a:lnTo>
                  <a:pt x="232" y="48"/>
                </a:lnTo>
                <a:lnTo>
                  <a:pt x="236" y="56"/>
                </a:lnTo>
                <a:lnTo>
                  <a:pt x="238" y="60"/>
                </a:lnTo>
                <a:lnTo>
                  <a:pt x="236" y="64"/>
                </a:lnTo>
                <a:lnTo>
                  <a:pt x="236" y="64"/>
                </a:lnTo>
                <a:lnTo>
                  <a:pt x="228" y="80"/>
                </a:lnTo>
                <a:lnTo>
                  <a:pt x="220" y="92"/>
                </a:lnTo>
                <a:lnTo>
                  <a:pt x="216" y="98"/>
                </a:lnTo>
                <a:lnTo>
                  <a:pt x="216" y="104"/>
                </a:lnTo>
                <a:lnTo>
                  <a:pt x="216" y="110"/>
                </a:lnTo>
                <a:lnTo>
                  <a:pt x="220" y="114"/>
                </a:lnTo>
                <a:lnTo>
                  <a:pt x="220" y="114"/>
                </a:lnTo>
                <a:lnTo>
                  <a:pt x="222" y="116"/>
                </a:lnTo>
                <a:lnTo>
                  <a:pt x="226" y="116"/>
                </a:lnTo>
                <a:lnTo>
                  <a:pt x="232" y="112"/>
                </a:lnTo>
                <a:lnTo>
                  <a:pt x="250" y="102"/>
                </a:lnTo>
                <a:lnTo>
                  <a:pt x="258" y="100"/>
                </a:lnTo>
                <a:lnTo>
                  <a:pt x="266" y="98"/>
                </a:lnTo>
                <a:lnTo>
                  <a:pt x="268" y="100"/>
                </a:lnTo>
                <a:lnTo>
                  <a:pt x="272" y="102"/>
                </a:lnTo>
                <a:lnTo>
                  <a:pt x="276" y="108"/>
                </a:lnTo>
                <a:lnTo>
                  <a:pt x="278" y="114"/>
                </a:lnTo>
                <a:lnTo>
                  <a:pt x="278" y="114"/>
                </a:lnTo>
                <a:lnTo>
                  <a:pt x="280" y="128"/>
                </a:lnTo>
                <a:lnTo>
                  <a:pt x="280" y="134"/>
                </a:lnTo>
                <a:lnTo>
                  <a:pt x="278" y="138"/>
                </a:lnTo>
                <a:lnTo>
                  <a:pt x="272" y="146"/>
                </a:lnTo>
                <a:lnTo>
                  <a:pt x="262" y="152"/>
                </a:lnTo>
                <a:lnTo>
                  <a:pt x="252" y="156"/>
                </a:lnTo>
                <a:lnTo>
                  <a:pt x="238" y="158"/>
                </a:lnTo>
                <a:lnTo>
                  <a:pt x="214" y="160"/>
                </a:lnTo>
                <a:lnTo>
                  <a:pt x="214" y="160"/>
                </a:lnTo>
                <a:lnTo>
                  <a:pt x="206" y="162"/>
                </a:lnTo>
                <a:lnTo>
                  <a:pt x="198" y="166"/>
                </a:lnTo>
                <a:lnTo>
                  <a:pt x="194" y="174"/>
                </a:lnTo>
                <a:lnTo>
                  <a:pt x="194" y="182"/>
                </a:lnTo>
                <a:lnTo>
                  <a:pt x="196" y="190"/>
                </a:lnTo>
                <a:lnTo>
                  <a:pt x="200" y="198"/>
                </a:lnTo>
                <a:lnTo>
                  <a:pt x="208" y="202"/>
                </a:lnTo>
                <a:lnTo>
                  <a:pt x="220" y="204"/>
                </a:lnTo>
                <a:lnTo>
                  <a:pt x="220" y="204"/>
                </a:lnTo>
                <a:lnTo>
                  <a:pt x="234" y="204"/>
                </a:lnTo>
                <a:lnTo>
                  <a:pt x="248" y="200"/>
                </a:lnTo>
                <a:lnTo>
                  <a:pt x="258" y="196"/>
                </a:lnTo>
                <a:lnTo>
                  <a:pt x="268" y="190"/>
                </a:lnTo>
                <a:lnTo>
                  <a:pt x="276" y="184"/>
                </a:lnTo>
                <a:lnTo>
                  <a:pt x="282" y="176"/>
                </a:lnTo>
                <a:lnTo>
                  <a:pt x="294" y="160"/>
                </a:lnTo>
                <a:lnTo>
                  <a:pt x="294" y="160"/>
                </a:lnTo>
                <a:close/>
                <a:moveTo>
                  <a:pt x="326" y="248"/>
                </a:moveTo>
                <a:lnTo>
                  <a:pt x="326" y="248"/>
                </a:lnTo>
                <a:lnTo>
                  <a:pt x="322" y="252"/>
                </a:lnTo>
                <a:lnTo>
                  <a:pt x="310" y="262"/>
                </a:lnTo>
                <a:lnTo>
                  <a:pt x="304" y="266"/>
                </a:lnTo>
                <a:lnTo>
                  <a:pt x="298" y="268"/>
                </a:lnTo>
                <a:lnTo>
                  <a:pt x="292" y="268"/>
                </a:lnTo>
                <a:lnTo>
                  <a:pt x="286" y="266"/>
                </a:lnTo>
                <a:lnTo>
                  <a:pt x="286" y="266"/>
                </a:lnTo>
                <a:lnTo>
                  <a:pt x="282" y="266"/>
                </a:lnTo>
                <a:lnTo>
                  <a:pt x="278" y="268"/>
                </a:lnTo>
                <a:lnTo>
                  <a:pt x="276" y="274"/>
                </a:lnTo>
                <a:lnTo>
                  <a:pt x="276" y="282"/>
                </a:lnTo>
                <a:lnTo>
                  <a:pt x="274" y="296"/>
                </a:lnTo>
                <a:lnTo>
                  <a:pt x="274" y="302"/>
                </a:lnTo>
                <a:lnTo>
                  <a:pt x="272" y="304"/>
                </a:lnTo>
                <a:lnTo>
                  <a:pt x="272" y="304"/>
                </a:lnTo>
                <a:lnTo>
                  <a:pt x="268" y="306"/>
                </a:lnTo>
                <a:lnTo>
                  <a:pt x="262" y="310"/>
                </a:lnTo>
                <a:lnTo>
                  <a:pt x="256" y="316"/>
                </a:lnTo>
                <a:lnTo>
                  <a:pt x="256" y="316"/>
                </a:lnTo>
                <a:lnTo>
                  <a:pt x="262" y="316"/>
                </a:lnTo>
                <a:lnTo>
                  <a:pt x="268" y="314"/>
                </a:lnTo>
                <a:lnTo>
                  <a:pt x="278" y="308"/>
                </a:lnTo>
                <a:lnTo>
                  <a:pt x="288" y="300"/>
                </a:lnTo>
                <a:lnTo>
                  <a:pt x="300" y="288"/>
                </a:lnTo>
                <a:lnTo>
                  <a:pt x="314" y="272"/>
                </a:lnTo>
                <a:lnTo>
                  <a:pt x="326" y="248"/>
                </a:lnTo>
                <a:lnTo>
                  <a:pt x="326" y="248"/>
                </a:lnTo>
                <a:close/>
                <a:moveTo>
                  <a:pt x="178" y="346"/>
                </a:moveTo>
                <a:lnTo>
                  <a:pt x="178" y="346"/>
                </a:lnTo>
                <a:lnTo>
                  <a:pt x="182" y="342"/>
                </a:lnTo>
                <a:lnTo>
                  <a:pt x="188" y="336"/>
                </a:lnTo>
                <a:lnTo>
                  <a:pt x="192" y="330"/>
                </a:lnTo>
                <a:lnTo>
                  <a:pt x="194" y="326"/>
                </a:lnTo>
                <a:lnTo>
                  <a:pt x="194" y="320"/>
                </a:lnTo>
                <a:lnTo>
                  <a:pt x="192" y="314"/>
                </a:lnTo>
                <a:lnTo>
                  <a:pt x="192" y="314"/>
                </a:lnTo>
                <a:lnTo>
                  <a:pt x="188" y="310"/>
                </a:lnTo>
                <a:lnTo>
                  <a:pt x="182" y="306"/>
                </a:lnTo>
                <a:lnTo>
                  <a:pt x="168" y="304"/>
                </a:lnTo>
                <a:lnTo>
                  <a:pt x="154" y="304"/>
                </a:lnTo>
                <a:lnTo>
                  <a:pt x="148" y="302"/>
                </a:lnTo>
                <a:lnTo>
                  <a:pt x="144" y="298"/>
                </a:lnTo>
                <a:lnTo>
                  <a:pt x="144" y="298"/>
                </a:lnTo>
                <a:lnTo>
                  <a:pt x="142" y="292"/>
                </a:lnTo>
                <a:lnTo>
                  <a:pt x="144" y="288"/>
                </a:lnTo>
                <a:lnTo>
                  <a:pt x="150" y="284"/>
                </a:lnTo>
                <a:lnTo>
                  <a:pt x="158" y="280"/>
                </a:lnTo>
                <a:lnTo>
                  <a:pt x="172" y="276"/>
                </a:lnTo>
                <a:lnTo>
                  <a:pt x="178" y="274"/>
                </a:lnTo>
                <a:lnTo>
                  <a:pt x="178" y="274"/>
                </a:lnTo>
                <a:lnTo>
                  <a:pt x="182" y="274"/>
                </a:lnTo>
                <a:lnTo>
                  <a:pt x="186" y="274"/>
                </a:lnTo>
                <a:lnTo>
                  <a:pt x="188" y="272"/>
                </a:lnTo>
                <a:lnTo>
                  <a:pt x="190" y="270"/>
                </a:lnTo>
                <a:lnTo>
                  <a:pt x="192" y="264"/>
                </a:lnTo>
                <a:lnTo>
                  <a:pt x="192" y="254"/>
                </a:lnTo>
                <a:lnTo>
                  <a:pt x="192" y="254"/>
                </a:lnTo>
                <a:lnTo>
                  <a:pt x="190" y="250"/>
                </a:lnTo>
                <a:lnTo>
                  <a:pt x="190" y="246"/>
                </a:lnTo>
                <a:lnTo>
                  <a:pt x="186" y="246"/>
                </a:lnTo>
                <a:lnTo>
                  <a:pt x="182" y="244"/>
                </a:lnTo>
                <a:lnTo>
                  <a:pt x="174" y="246"/>
                </a:lnTo>
                <a:lnTo>
                  <a:pt x="162" y="250"/>
                </a:lnTo>
                <a:lnTo>
                  <a:pt x="148" y="254"/>
                </a:lnTo>
                <a:lnTo>
                  <a:pt x="134" y="256"/>
                </a:lnTo>
                <a:lnTo>
                  <a:pt x="116" y="258"/>
                </a:lnTo>
                <a:lnTo>
                  <a:pt x="98" y="254"/>
                </a:lnTo>
                <a:lnTo>
                  <a:pt x="98" y="254"/>
                </a:lnTo>
                <a:lnTo>
                  <a:pt x="82" y="248"/>
                </a:lnTo>
                <a:lnTo>
                  <a:pt x="66" y="238"/>
                </a:lnTo>
                <a:lnTo>
                  <a:pt x="52" y="226"/>
                </a:lnTo>
                <a:lnTo>
                  <a:pt x="40" y="214"/>
                </a:lnTo>
                <a:lnTo>
                  <a:pt x="24" y="194"/>
                </a:lnTo>
                <a:lnTo>
                  <a:pt x="20" y="186"/>
                </a:lnTo>
                <a:lnTo>
                  <a:pt x="20" y="186"/>
                </a:lnTo>
                <a:lnTo>
                  <a:pt x="20" y="202"/>
                </a:lnTo>
                <a:lnTo>
                  <a:pt x="22" y="218"/>
                </a:lnTo>
                <a:lnTo>
                  <a:pt x="26" y="234"/>
                </a:lnTo>
                <a:lnTo>
                  <a:pt x="32" y="248"/>
                </a:lnTo>
                <a:lnTo>
                  <a:pt x="38" y="262"/>
                </a:lnTo>
                <a:lnTo>
                  <a:pt x="46" y="274"/>
                </a:lnTo>
                <a:lnTo>
                  <a:pt x="56" y="288"/>
                </a:lnTo>
                <a:lnTo>
                  <a:pt x="66" y="298"/>
                </a:lnTo>
                <a:lnTo>
                  <a:pt x="78" y="308"/>
                </a:lnTo>
                <a:lnTo>
                  <a:pt x="90" y="318"/>
                </a:lnTo>
                <a:lnTo>
                  <a:pt x="102" y="326"/>
                </a:lnTo>
                <a:lnTo>
                  <a:pt x="116" y="332"/>
                </a:lnTo>
                <a:lnTo>
                  <a:pt x="130" y="338"/>
                </a:lnTo>
                <a:lnTo>
                  <a:pt x="146" y="342"/>
                </a:lnTo>
                <a:lnTo>
                  <a:pt x="162" y="344"/>
                </a:lnTo>
                <a:lnTo>
                  <a:pt x="178" y="346"/>
                </a:lnTo>
                <a:lnTo>
                  <a:pt x="178" y="34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Tree>
    <p:extLst>
      <p:ext uri="{BB962C8B-B14F-4D97-AF65-F5344CB8AC3E}">
        <p14:creationId xmlns:p14="http://schemas.microsoft.com/office/powerpoint/2010/main" val="23422999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711" name="Object 2" hidden="1"/>
          <p:cNvGraphicFramePr>
            <a:graphicFrameLocks/>
          </p:cNvGraphicFramePr>
          <p:nvPr>
            <p:custDataLst>
              <p:tags r:id="rId2"/>
            </p:custDataLst>
          </p:nvPr>
        </p:nvGraphicFramePr>
        <p:xfrm>
          <a:off x="5" y="2"/>
          <a:ext cx="146050" cy="158751"/>
        </p:xfrm>
        <a:graphic>
          <a:graphicData uri="http://schemas.openxmlformats.org/presentationml/2006/ole">
            <mc:AlternateContent xmlns:mc="http://schemas.openxmlformats.org/markup-compatibility/2006">
              <mc:Choice xmlns:v="urn:schemas-microsoft-com:vml" Requires="v">
                <p:oleObj spid="_x0000_s8208" name="think-cell Slide" r:id="rId6" imgW="360" imgH="360" progId="">
                  <p:embed/>
                </p:oleObj>
              </mc:Choice>
              <mc:Fallback>
                <p:oleObj name="think-cell Slide" r:id="rId6" imgW="360" imgH="360" progId="">
                  <p:embed/>
                  <p:pic>
                    <p:nvPicPr>
                      <p:cNvPr id="72711" name="Object 2" hidden="1"/>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 y="2"/>
                        <a:ext cx="1460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2712" name="Rectangle 3" hidden="1"/>
          <p:cNvSpPr>
            <a:spLocks noChangeArrowheads="1"/>
          </p:cNvSpPr>
          <p:nvPr>
            <p:custDataLst>
              <p:tags r:id="rId3"/>
            </p:custDataLst>
          </p:nvPr>
        </p:nvSpPr>
        <p:spPr bwMode="auto">
          <a:xfrm>
            <a:off x="5" y="2"/>
            <a:ext cx="146050" cy="158751"/>
          </a:xfrm>
          <a:prstGeom prst="rect">
            <a:avLst/>
          </a:prstGeom>
          <a:solidFill>
            <a:schemeClr val="accent1"/>
          </a:solidFill>
          <a:ln w="25400" algn="ctr">
            <a:solidFill>
              <a:srgbClr val="B35A03"/>
            </a:solidFill>
            <a:miter lim="800000"/>
            <a:headEnd/>
            <a:tailEnd/>
          </a:ln>
        </p:spPr>
        <p:txBody>
          <a:bodyPr wrap="none" lIns="0" tIns="0" rIns="0" bIns="0" anchor="ctr"/>
          <a:lstStyle/>
          <a:p>
            <a:pPr algn="ctr" defTabSz="675084"/>
            <a:endParaRPr lang="en-US">
              <a:solidFill>
                <a:srgbClr val="FFFFFF"/>
              </a:solidFill>
              <a:sym typeface="Arial" pitchFamily="34" charset="0"/>
            </a:endParaRPr>
          </a:p>
        </p:txBody>
      </p:sp>
      <p:sp>
        <p:nvSpPr>
          <p:cNvPr id="126" name="Номер слайда 4"/>
          <p:cNvSpPr>
            <a:spLocks noGrp="1"/>
          </p:cNvSpPr>
          <p:nvPr>
            <p:ph type="sldNum" sz="quarter" idx="4"/>
          </p:nvPr>
        </p:nvSpPr>
        <p:spPr/>
        <p:txBody>
          <a:bodyPr/>
          <a:lstStyle/>
          <a:p>
            <a:fld id="{AD4F4A90-9DAF-410A-B921-1B31B18F5D7B}" type="slidenum">
              <a:rPr lang="ru-RU" smtClean="0">
                <a:solidFill>
                  <a:srgbClr val="003274"/>
                </a:solidFill>
              </a:rPr>
              <a:pPr/>
              <a:t>3</a:t>
            </a:fld>
            <a:endParaRPr lang="ru-RU" dirty="0">
              <a:solidFill>
                <a:srgbClr val="003274"/>
              </a:solidFill>
            </a:endParaRPr>
          </a:p>
        </p:txBody>
      </p:sp>
      <p:sp>
        <p:nvSpPr>
          <p:cNvPr id="308" name="Заголовок 1"/>
          <p:cNvSpPr>
            <a:spLocks noGrp="1"/>
          </p:cNvSpPr>
          <p:nvPr>
            <p:ph type="title"/>
          </p:nvPr>
        </p:nvSpPr>
        <p:spPr/>
        <p:txBody>
          <a:bodyPr/>
          <a:lstStyle/>
          <a:p>
            <a:r>
              <a:rPr lang="en-US" dirty="0"/>
              <a:t>Rosatom Integrated Offer</a:t>
            </a:r>
          </a:p>
        </p:txBody>
      </p:sp>
      <p:sp>
        <p:nvSpPr>
          <p:cNvPr id="183" name="Title 1"/>
          <p:cNvSpPr txBox="1">
            <a:spLocks/>
          </p:cNvSpPr>
          <p:nvPr/>
        </p:nvSpPr>
        <p:spPr>
          <a:xfrm>
            <a:off x="297017" y="2893392"/>
            <a:ext cx="1718455" cy="440676"/>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r"/>
            <a:r>
              <a:rPr lang="en-US" sz="1100" cap="all" dirty="0">
                <a:solidFill>
                  <a:srgbClr val="191919"/>
                </a:solidFill>
              </a:rPr>
              <a:t>Back End</a:t>
            </a:r>
          </a:p>
        </p:txBody>
      </p:sp>
      <p:sp>
        <p:nvSpPr>
          <p:cNvPr id="187" name="Title 1"/>
          <p:cNvSpPr txBox="1">
            <a:spLocks/>
          </p:cNvSpPr>
          <p:nvPr/>
        </p:nvSpPr>
        <p:spPr>
          <a:xfrm>
            <a:off x="467544" y="1527121"/>
            <a:ext cx="2010790" cy="440676"/>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r"/>
            <a:r>
              <a:rPr lang="en-US" sz="1100" cap="all" dirty="0">
                <a:solidFill>
                  <a:srgbClr val="191919"/>
                </a:solidFill>
              </a:rPr>
              <a:t>Nuclear</a:t>
            </a:r>
          </a:p>
          <a:p>
            <a:pPr algn="r"/>
            <a:r>
              <a:rPr lang="en-US" sz="1100" cap="all" dirty="0">
                <a:solidFill>
                  <a:srgbClr val="191919"/>
                </a:solidFill>
              </a:rPr>
              <a:t>Infrastructure Development</a:t>
            </a:r>
          </a:p>
        </p:txBody>
      </p:sp>
      <p:sp>
        <p:nvSpPr>
          <p:cNvPr id="191" name="Title 1"/>
          <p:cNvSpPr txBox="1">
            <a:spLocks/>
          </p:cNvSpPr>
          <p:nvPr/>
        </p:nvSpPr>
        <p:spPr>
          <a:xfrm>
            <a:off x="6525955" y="1605946"/>
            <a:ext cx="1430421" cy="440675"/>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r>
              <a:rPr lang="en-US" sz="1100" cap="all" dirty="0">
                <a:solidFill>
                  <a:srgbClr val="191919"/>
                </a:solidFill>
              </a:rPr>
              <a:t>Public Acceptance</a:t>
            </a:r>
          </a:p>
        </p:txBody>
      </p:sp>
      <p:sp>
        <p:nvSpPr>
          <p:cNvPr id="195" name="Title 1"/>
          <p:cNvSpPr txBox="1">
            <a:spLocks/>
          </p:cNvSpPr>
          <p:nvPr/>
        </p:nvSpPr>
        <p:spPr>
          <a:xfrm>
            <a:off x="7274407" y="2801600"/>
            <a:ext cx="1546065" cy="440674"/>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r>
              <a:rPr lang="en-US" sz="1100" cap="all" dirty="0">
                <a:solidFill>
                  <a:srgbClr val="191919"/>
                </a:solidFill>
              </a:rPr>
              <a:t>Human Resources Development</a:t>
            </a:r>
          </a:p>
        </p:txBody>
      </p:sp>
      <p:sp>
        <p:nvSpPr>
          <p:cNvPr id="203" name="Title 1"/>
          <p:cNvSpPr txBox="1">
            <a:spLocks/>
          </p:cNvSpPr>
          <p:nvPr/>
        </p:nvSpPr>
        <p:spPr>
          <a:xfrm>
            <a:off x="6342384" y="5417098"/>
            <a:ext cx="2046040" cy="440676"/>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defRPr/>
            </a:pPr>
            <a:r>
              <a:rPr lang="en-US" sz="1100" cap="all" dirty="0">
                <a:solidFill>
                  <a:srgbClr val="191919"/>
                </a:solidFill>
              </a:rPr>
              <a:t>Energy </a:t>
            </a:r>
            <a:br>
              <a:rPr lang="ru-RU" sz="1100" cap="all" dirty="0">
                <a:solidFill>
                  <a:srgbClr val="191919"/>
                </a:solidFill>
              </a:rPr>
            </a:br>
            <a:r>
              <a:rPr lang="en-US" sz="1100" cap="all" dirty="0">
                <a:solidFill>
                  <a:srgbClr val="191919"/>
                </a:solidFill>
              </a:rPr>
              <a:t>Solution</a:t>
            </a:r>
          </a:p>
        </p:txBody>
      </p:sp>
      <p:sp>
        <p:nvSpPr>
          <p:cNvPr id="207" name="Title 1"/>
          <p:cNvSpPr txBox="1">
            <a:spLocks/>
          </p:cNvSpPr>
          <p:nvPr/>
        </p:nvSpPr>
        <p:spPr>
          <a:xfrm>
            <a:off x="233075" y="4178671"/>
            <a:ext cx="1718453" cy="440675"/>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r"/>
            <a:r>
              <a:rPr lang="en-US" sz="1100" cap="all" dirty="0">
                <a:solidFill>
                  <a:srgbClr val="191919"/>
                </a:solidFill>
              </a:rPr>
              <a:t>Operation &amp; Maintenance</a:t>
            </a:r>
          </a:p>
        </p:txBody>
      </p:sp>
      <p:sp>
        <p:nvSpPr>
          <p:cNvPr id="211" name="Title 1"/>
          <p:cNvSpPr txBox="1">
            <a:spLocks/>
          </p:cNvSpPr>
          <p:nvPr/>
        </p:nvSpPr>
        <p:spPr>
          <a:xfrm>
            <a:off x="2051720" y="5419804"/>
            <a:ext cx="777006" cy="440676"/>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r"/>
            <a:r>
              <a:rPr lang="en-US" sz="1100" cap="all" dirty="0">
                <a:solidFill>
                  <a:srgbClr val="191919"/>
                </a:solidFill>
              </a:rPr>
              <a:t>Fuel Supply</a:t>
            </a:r>
          </a:p>
        </p:txBody>
      </p:sp>
      <p:grpSp>
        <p:nvGrpSpPr>
          <p:cNvPr id="12" name="Группа 11"/>
          <p:cNvGrpSpPr/>
          <p:nvPr/>
        </p:nvGrpSpPr>
        <p:grpSpPr>
          <a:xfrm>
            <a:off x="1209823" y="2092603"/>
            <a:ext cx="6724353" cy="59616"/>
            <a:chOff x="1421563" y="2092413"/>
            <a:chExt cx="6229605" cy="59616"/>
          </a:xfrm>
        </p:grpSpPr>
        <p:sp>
          <p:nvSpPr>
            <p:cNvPr id="188" name="Rectangle 56"/>
            <p:cNvSpPr/>
            <p:nvPr/>
          </p:nvSpPr>
          <p:spPr>
            <a:xfrm>
              <a:off x="1421563" y="2092413"/>
              <a:ext cx="1568746" cy="59616"/>
            </a:xfrm>
            <a:prstGeom prst="rect">
              <a:avLst/>
            </a:prstGeom>
            <a:solidFill>
              <a:schemeClr val="accent1"/>
            </a:solidFill>
            <a:ln w="25400" cap="flat" cmpd="sng" algn="ctr">
              <a:noFill/>
              <a:prstDash val="solid"/>
            </a:ln>
            <a:effectLst/>
          </p:spPr>
          <p:txBody>
            <a:bodyPr rtlCol="0" anchor="ctr"/>
            <a:lstStyle/>
            <a:p>
              <a:pPr algn="r"/>
              <a:endParaRPr lang="en-US" sz="2400" kern="0" dirty="0">
                <a:solidFill>
                  <a:srgbClr val="7E858E"/>
                </a:solidFill>
              </a:endParaRPr>
            </a:p>
          </p:txBody>
        </p:sp>
        <p:sp>
          <p:nvSpPr>
            <p:cNvPr id="95" name="Rectangle 56"/>
            <p:cNvSpPr/>
            <p:nvPr/>
          </p:nvSpPr>
          <p:spPr>
            <a:xfrm>
              <a:off x="6082422" y="2092413"/>
              <a:ext cx="1568746" cy="59616"/>
            </a:xfrm>
            <a:prstGeom prst="rect">
              <a:avLst/>
            </a:prstGeom>
            <a:solidFill>
              <a:schemeClr val="accent2">
                <a:lumMod val="60000"/>
                <a:lumOff val="40000"/>
              </a:schemeClr>
            </a:solidFill>
            <a:ln w="25400" cap="flat" cmpd="sng" algn="ctr">
              <a:noFill/>
              <a:prstDash val="solid"/>
            </a:ln>
            <a:effectLst/>
          </p:spPr>
          <p:txBody>
            <a:bodyPr rtlCol="0" anchor="ctr"/>
            <a:lstStyle/>
            <a:p>
              <a:pPr algn="r"/>
              <a:endParaRPr lang="en-US" sz="2400" kern="0" dirty="0">
                <a:solidFill>
                  <a:srgbClr val="7E858E"/>
                </a:solidFill>
              </a:endParaRPr>
            </a:p>
          </p:txBody>
        </p:sp>
      </p:grpSp>
      <p:sp>
        <p:nvSpPr>
          <p:cNvPr id="98" name="Rectangle 56"/>
          <p:cNvSpPr/>
          <p:nvPr/>
        </p:nvSpPr>
        <p:spPr>
          <a:xfrm>
            <a:off x="635422" y="3382293"/>
            <a:ext cx="1669091" cy="59616"/>
          </a:xfrm>
          <a:prstGeom prst="rect">
            <a:avLst/>
          </a:prstGeom>
          <a:solidFill>
            <a:schemeClr val="accent2">
              <a:lumMod val="75000"/>
            </a:schemeClr>
          </a:solidFill>
          <a:ln w="25400" cap="flat" cmpd="sng" algn="ctr">
            <a:noFill/>
            <a:prstDash val="solid"/>
          </a:ln>
          <a:effectLst/>
        </p:spPr>
        <p:txBody>
          <a:bodyPr rtlCol="0" anchor="ctr"/>
          <a:lstStyle/>
          <a:p>
            <a:pPr algn="r"/>
            <a:endParaRPr lang="en-US" sz="2400" kern="0" dirty="0">
              <a:solidFill>
                <a:srgbClr val="7E858E"/>
              </a:solidFill>
            </a:endParaRPr>
          </a:p>
        </p:txBody>
      </p:sp>
      <p:sp>
        <p:nvSpPr>
          <p:cNvPr id="99" name="Rectangle 56"/>
          <p:cNvSpPr/>
          <p:nvPr/>
        </p:nvSpPr>
        <p:spPr>
          <a:xfrm>
            <a:off x="6839489" y="3382293"/>
            <a:ext cx="1669091" cy="59616"/>
          </a:xfrm>
          <a:prstGeom prst="rect">
            <a:avLst/>
          </a:prstGeom>
          <a:solidFill>
            <a:schemeClr val="bg2"/>
          </a:solidFill>
          <a:ln w="25400" cap="flat" cmpd="sng" algn="ctr">
            <a:noFill/>
            <a:prstDash val="solid"/>
          </a:ln>
          <a:effectLst/>
        </p:spPr>
        <p:txBody>
          <a:bodyPr rtlCol="0" anchor="ctr"/>
          <a:lstStyle/>
          <a:p>
            <a:pPr algn="r"/>
            <a:endParaRPr lang="en-US" sz="2400" kern="0" dirty="0">
              <a:solidFill>
                <a:srgbClr val="7E858E"/>
              </a:solidFill>
            </a:endParaRPr>
          </a:p>
        </p:txBody>
      </p:sp>
      <p:sp>
        <p:nvSpPr>
          <p:cNvPr id="101" name="Rectangle 56"/>
          <p:cNvSpPr/>
          <p:nvPr/>
        </p:nvSpPr>
        <p:spPr>
          <a:xfrm>
            <a:off x="643603" y="4671983"/>
            <a:ext cx="1832726" cy="59616"/>
          </a:xfrm>
          <a:prstGeom prst="rect">
            <a:avLst/>
          </a:prstGeom>
          <a:solidFill>
            <a:schemeClr val="bg1">
              <a:lumMod val="50000"/>
            </a:schemeClr>
          </a:solidFill>
          <a:ln w="25400" cap="flat" cmpd="sng" algn="ctr">
            <a:noFill/>
            <a:prstDash val="solid"/>
          </a:ln>
          <a:effectLst/>
        </p:spPr>
        <p:txBody>
          <a:bodyPr rtlCol="0" anchor="ctr"/>
          <a:lstStyle/>
          <a:p>
            <a:pPr algn="r"/>
            <a:endParaRPr lang="en-US" sz="2400" kern="0" dirty="0">
              <a:solidFill>
                <a:srgbClr val="7E858E"/>
              </a:solidFill>
            </a:endParaRPr>
          </a:p>
        </p:txBody>
      </p:sp>
      <p:sp>
        <p:nvSpPr>
          <p:cNvPr id="102" name="Rectangle 56"/>
          <p:cNvSpPr/>
          <p:nvPr/>
        </p:nvSpPr>
        <p:spPr>
          <a:xfrm>
            <a:off x="6667669" y="4671983"/>
            <a:ext cx="1832728" cy="59616"/>
          </a:xfrm>
          <a:prstGeom prst="rect">
            <a:avLst/>
          </a:prstGeom>
          <a:solidFill>
            <a:schemeClr val="accent4"/>
          </a:solidFill>
          <a:ln w="25400" cap="flat" cmpd="sng" algn="ctr">
            <a:noFill/>
            <a:prstDash val="solid"/>
          </a:ln>
          <a:effectLst/>
        </p:spPr>
        <p:txBody>
          <a:bodyPr rtlCol="0" anchor="ctr"/>
          <a:lstStyle/>
          <a:p>
            <a:pPr algn="r"/>
            <a:endParaRPr lang="en-US" sz="2400" kern="0" dirty="0">
              <a:solidFill>
                <a:srgbClr val="7E858E"/>
              </a:solidFill>
            </a:endParaRPr>
          </a:p>
        </p:txBody>
      </p:sp>
      <p:grpSp>
        <p:nvGrpSpPr>
          <p:cNvPr id="16" name="Группа 15"/>
          <p:cNvGrpSpPr/>
          <p:nvPr/>
        </p:nvGrpSpPr>
        <p:grpSpPr>
          <a:xfrm>
            <a:off x="1750075" y="5889664"/>
            <a:ext cx="5643850" cy="59616"/>
            <a:chOff x="1691680" y="5961672"/>
            <a:chExt cx="5643850" cy="59616"/>
          </a:xfrm>
        </p:grpSpPr>
        <p:sp>
          <p:nvSpPr>
            <p:cNvPr id="104" name="Rectangle 56"/>
            <p:cNvSpPr/>
            <p:nvPr/>
          </p:nvSpPr>
          <p:spPr>
            <a:xfrm>
              <a:off x="1691680" y="5961672"/>
              <a:ext cx="1539394" cy="59616"/>
            </a:xfrm>
            <a:prstGeom prst="rect">
              <a:avLst/>
            </a:prstGeom>
            <a:solidFill>
              <a:schemeClr val="tx2"/>
            </a:solidFill>
            <a:ln w="25400" cap="flat" cmpd="sng" algn="ctr">
              <a:noFill/>
              <a:prstDash val="solid"/>
            </a:ln>
            <a:effectLst/>
          </p:spPr>
          <p:txBody>
            <a:bodyPr rtlCol="0" anchor="ctr"/>
            <a:lstStyle/>
            <a:p>
              <a:pPr algn="r"/>
              <a:endParaRPr lang="en-US" sz="2400" kern="0" dirty="0">
                <a:solidFill>
                  <a:srgbClr val="7E858E"/>
                </a:solidFill>
              </a:endParaRPr>
            </a:p>
          </p:txBody>
        </p:sp>
        <p:sp>
          <p:nvSpPr>
            <p:cNvPr id="105" name="Rectangle 56"/>
            <p:cNvSpPr/>
            <p:nvPr/>
          </p:nvSpPr>
          <p:spPr>
            <a:xfrm>
              <a:off x="5796136" y="5961672"/>
              <a:ext cx="1539394" cy="59616"/>
            </a:xfrm>
            <a:prstGeom prst="rect">
              <a:avLst/>
            </a:prstGeom>
            <a:solidFill>
              <a:schemeClr val="accent5"/>
            </a:solidFill>
            <a:ln w="25400" cap="flat" cmpd="sng" algn="ctr">
              <a:noFill/>
              <a:prstDash val="solid"/>
            </a:ln>
            <a:effectLst/>
          </p:spPr>
          <p:txBody>
            <a:bodyPr rtlCol="0" anchor="ctr"/>
            <a:lstStyle/>
            <a:p>
              <a:pPr algn="r"/>
              <a:endParaRPr lang="en-US" sz="2400" kern="0" dirty="0">
                <a:solidFill>
                  <a:srgbClr val="7E858E"/>
                </a:solidFill>
              </a:endParaRPr>
            </a:p>
          </p:txBody>
        </p:sp>
      </p:grpSp>
      <p:graphicFrame>
        <p:nvGraphicFramePr>
          <p:cNvPr id="110" name="Chart 390"/>
          <p:cNvGraphicFramePr/>
          <p:nvPr>
            <p:extLst/>
          </p:nvPr>
        </p:nvGraphicFramePr>
        <p:xfrm>
          <a:off x="2735796" y="1700809"/>
          <a:ext cx="3672408" cy="4032448"/>
        </p:xfrm>
        <a:graphic>
          <a:graphicData uri="http://schemas.openxmlformats.org/drawingml/2006/chart">
            <c:chart xmlns:c="http://schemas.openxmlformats.org/drawingml/2006/chart" xmlns:r="http://schemas.openxmlformats.org/officeDocument/2006/relationships" r:id="rId8"/>
          </a:graphicData>
        </a:graphic>
      </p:graphicFrame>
      <p:sp>
        <p:nvSpPr>
          <p:cNvPr id="111" name="Title 1"/>
          <p:cNvSpPr txBox="1">
            <a:spLocks/>
          </p:cNvSpPr>
          <p:nvPr/>
        </p:nvSpPr>
        <p:spPr>
          <a:xfrm>
            <a:off x="3558997" y="3021939"/>
            <a:ext cx="2119498" cy="1335934"/>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r>
              <a:rPr lang="en-US" sz="1200" b="1" dirty="0">
                <a:solidFill>
                  <a:srgbClr val="FFFFFF"/>
                </a:solidFill>
              </a:rPr>
              <a:t>60%</a:t>
            </a:r>
          </a:p>
        </p:txBody>
      </p:sp>
      <p:pic>
        <p:nvPicPr>
          <p:cNvPr id="109" name="Picture 2"/>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a:stretch/>
        </p:blipFill>
        <p:spPr bwMode="auto">
          <a:xfrm>
            <a:off x="3472677" y="2629187"/>
            <a:ext cx="2176125" cy="220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7" name="Группа 36"/>
          <p:cNvGrpSpPr/>
          <p:nvPr/>
        </p:nvGrpSpPr>
        <p:grpSpPr>
          <a:xfrm>
            <a:off x="5960001" y="1550630"/>
            <a:ext cx="471859" cy="448158"/>
            <a:chOff x="4748213" y="1423988"/>
            <a:chExt cx="695326" cy="660400"/>
          </a:xfrm>
          <a:solidFill>
            <a:schemeClr val="accent2">
              <a:lumMod val="60000"/>
              <a:lumOff val="40000"/>
            </a:schemeClr>
          </a:solidFill>
        </p:grpSpPr>
        <p:sp>
          <p:nvSpPr>
            <p:cNvPr id="38" name="Freeform 5"/>
            <p:cNvSpPr>
              <a:spLocks/>
            </p:cNvSpPr>
            <p:nvPr/>
          </p:nvSpPr>
          <p:spPr bwMode="auto">
            <a:xfrm>
              <a:off x="4886326" y="1854200"/>
              <a:ext cx="260350" cy="230188"/>
            </a:xfrm>
            <a:custGeom>
              <a:avLst/>
              <a:gdLst>
                <a:gd name="T0" fmla="*/ 95 w 164"/>
                <a:gd name="T1" fmla="*/ 5 h 145"/>
                <a:gd name="T2" fmla="*/ 95 w 164"/>
                <a:gd name="T3" fmla="*/ 5 h 145"/>
                <a:gd name="T4" fmla="*/ 73 w 164"/>
                <a:gd name="T5" fmla="*/ 3 h 145"/>
                <a:gd name="T6" fmla="*/ 50 w 164"/>
                <a:gd name="T7" fmla="*/ 1 h 145"/>
                <a:gd name="T8" fmla="*/ 25 w 164"/>
                <a:gd name="T9" fmla="*/ 0 h 145"/>
                <a:gd name="T10" fmla="*/ 0 w 164"/>
                <a:gd name="T11" fmla="*/ 1 h 145"/>
                <a:gd name="T12" fmla="*/ 145 w 164"/>
                <a:gd name="T13" fmla="*/ 145 h 145"/>
                <a:gd name="T14" fmla="*/ 145 w 164"/>
                <a:gd name="T15" fmla="*/ 145 h 145"/>
                <a:gd name="T16" fmla="*/ 153 w 164"/>
                <a:gd name="T17" fmla="*/ 136 h 145"/>
                <a:gd name="T18" fmla="*/ 158 w 164"/>
                <a:gd name="T19" fmla="*/ 125 h 145"/>
                <a:gd name="T20" fmla="*/ 162 w 164"/>
                <a:gd name="T21" fmla="*/ 114 h 145"/>
                <a:gd name="T22" fmla="*/ 164 w 164"/>
                <a:gd name="T23" fmla="*/ 100 h 145"/>
                <a:gd name="T24" fmla="*/ 162 w 164"/>
                <a:gd name="T25" fmla="*/ 89 h 145"/>
                <a:gd name="T26" fmla="*/ 158 w 164"/>
                <a:gd name="T27" fmla="*/ 77 h 145"/>
                <a:gd name="T28" fmla="*/ 153 w 164"/>
                <a:gd name="T29" fmla="*/ 66 h 145"/>
                <a:gd name="T30" fmla="*/ 145 w 164"/>
                <a:gd name="T31" fmla="*/ 57 h 145"/>
                <a:gd name="T32" fmla="*/ 95 w 164"/>
                <a:gd name="T33" fmla="*/ 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4" h="145">
                  <a:moveTo>
                    <a:pt x="95" y="5"/>
                  </a:moveTo>
                  <a:lnTo>
                    <a:pt x="95" y="5"/>
                  </a:lnTo>
                  <a:lnTo>
                    <a:pt x="73" y="3"/>
                  </a:lnTo>
                  <a:lnTo>
                    <a:pt x="50" y="1"/>
                  </a:lnTo>
                  <a:lnTo>
                    <a:pt x="25" y="0"/>
                  </a:lnTo>
                  <a:lnTo>
                    <a:pt x="0" y="1"/>
                  </a:lnTo>
                  <a:lnTo>
                    <a:pt x="145" y="145"/>
                  </a:lnTo>
                  <a:lnTo>
                    <a:pt x="145" y="145"/>
                  </a:lnTo>
                  <a:lnTo>
                    <a:pt x="153" y="136"/>
                  </a:lnTo>
                  <a:lnTo>
                    <a:pt x="158" y="125"/>
                  </a:lnTo>
                  <a:lnTo>
                    <a:pt x="162" y="114"/>
                  </a:lnTo>
                  <a:lnTo>
                    <a:pt x="164" y="100"/>
                  </a:lnTo>
                  <a:lnTo>
                    <a:pt x="162" y="89"/>
                  </a:lnTo>
                  <a:lnTo>
                    <a:pt x="158" y="77"/>
                  </a:lnTo>
                  <a:lnTo>
                    <a:pt x="153" y="66"/>
                  </a:lnTo>
                  <a:lnTo>
                    <a:pt x="145" y="57"/>
                  </a:lnTo>
                  <a:lnTo>
                    <a:pt x="9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39" name="Freeform 6"/>
            <p:cNvSpPr>
              <a:spLocks noEditPoints="1"/>
            </p:cNvSpPr>
            <p:nvPr/>
          </p:nvSpPr>
          <p:spPr bwMode="auto">
            <a:xfrm>
              <a:off x="4748213" y="1444625"/>
              <a:ext cx="538163" cy="487363"/>
            </a:xfrm>
            <a:custGeom>
              <a:avLst/>
              <a:gdLst>
                <a:gd name="T0" fmla="*/ 326 w 339"/>
                <a:gd name="T1" fmla="*/ 5 h 307"/>
                <a:gd name="T2" fmla="*/ 259 w 339"/>
                <a:gd name="T3" fmla="*/ 33 h 307"/>
                <a:gd name="T4" fmla="*/ 172 w 339"/>
                <a:gd name="T5" fmla="*/ 54 h 307"/>
                <a:gd name="T6" fmla="*/ 107 w 339"/>
                <a:gd name="T7" fmla="*/ 59 h 307"/>
                <a:gd name="T8" fmla="*/ 52 w 339"/>
                <a:gd name="T9" fmla="*/ 55 h 307"/>
                <a:gd name="T10" fmla="*/ 23 w 339"/>
                <a:gd name="T11" fmla="*/ 66 h 307"/>
                <a:gd name="T12" fmla="*/ 5 w 339"/>
                <a:gd name="T13" fmla="*/ 104 h 307"/>
                <a:gd name="T14" fmla="*/ 0 w 339"/>
                <a:gd name="T15" fmla="*/ 141 h 307"/>
                <a:gd name="T16" fmla="*/ 0 w 339"/>
                <a:gd name="T17" fmla="*/ 165 h 307"/>
                <a:gd name="T18" fmla="*/ 5 w 339"/>
                <a:gd name="T19" fmla="*/ 201 h 307"/>
                <a:gd name="T20" fmla="*/ 23 w 339"/>
                <a:gd name="T21" fmla="*/ 241 h 307"/>
                <a:gd name="T22" fmla="*/ 57 w 339"/>
                <a:gd name="T23" fmla="*/ 250 h 307"/>
                <a:gd name="T24" fmla="*/ 107 w 339"/>
                <a:gd name="T25" fmla="*/ 248 h 307"/>
                <a:gd name="T26" fmla="*/ 177 w 339"/>
                <a:gd name="T27" fmla="*/ 253 h 307"/>
                <a:gd name="T28" fmla="*/ 234 w 339"/>
                <a:gd name="T29" fmla="*/ 266 h 307"/>
                <a:gd name="T30" fmla="*/ 317 w 339"/>
                <a:gd name="T31" fmla="*/ 296 h 307"/>
                <a:gd name="T32" fmla="*/ 331 w 339"/>
                <a:gd name="T33" fmla="*/ 295 h 307"/>
                <a:gd name="T34" fmla="*/ 311 w 339"/>
                <a:gd name="T35" fmla="*/ 246 h 307"/>
                <a:gd name="T36" fmla="*/ 301 w 339"/>
                <a:gd name="T37" fmla="*/ 178 h 307"/>
                <a:gd name="T38" fmla="*/ 301 w 339"/>
                <a:gd name="T39" fmla="*/ 128 h 307"/>
                <a:gd name="T40" fmla="*/ 311 w 339"/>
                <a:gd name="T41" fmla="*/ 60 h 307"/>
                <a:gd name="T42" fmla="*/ 331 w 339"/>
                <a:gd name="T43" fmla="*/ 10 h 307"/>
                <a:gd name="T44" fmla="*/ 313 w 339"/>
                <a:gd name="T45" fmla="*/ 285 h 307"/>
                <a:gd name="T46" fmla="*/ 256 w 339"/>
                <a:gd name="T47" fmla="*/ 262 h 307"/>
                <a:gd name="T48" fmla="*/ 178 w 339"/>
                <a:gd name="T49" fmla="*/ 242 h 307"/>
                <a:gd name="T50" fmla="*/ 107 w 339"/>
                <a:gd name="T51" fmla="*/ 237 h 307"/>
                <a:gd name="T52" fmla="*/ 82 w 339"/>
                <a:gd name="T53" fmla="*/ 237 h 307"/>
                <a:gd name="T54" fmla="*/ 36 w 339"/>
                <a:gd name="T55" fmla="*/ 242 h 307"/>
                <a:gd name="T56" fmla="*/ 20 w 339"/>
                <a:gd name="T57" fmla="*/ 211 h 307"/>
                <a:gd name="T58" fmla="*/ 12 w 339"/>
                <a:gd name="T59" fmla="*/ 176 h 307"/>
                <a:gd name="T60" fmla="*/ 11 w 339"/>
                <a:gd name="T61" fmla="*/ 153 h 307"/>
                <a:gd name="T62" fmla="*/ 13 w 339"/>
                <a:gd name="T63" fmla="*/ 118 h 307"/>
                <a:gd name="T64" fmla="*/ 24 w 339"/>
                <a:gd name="T65" fmla="*/ 85 h 307"/>
                <a:gd name="T66" fmla="*/ 36 w 339"/>
                <a:gd name="T67" fmla="*/ 64 h 307"/>
                <a:gd name="T68" fmla="*/ 107 w 339"/>
                <a:gd name="T69" fmla="*/ 70 h 307"/>
                <a:gd name="T70" fmla="*/ 202 w 339"/>
                <a:gd name="T71" fmla="*/ 59 h 307"/>
                <a:gd name="T72" fmla="*/ 277 w 339"/>
                <a:gd name="T73" fmla="*/ 37 h 307"/>
                <a:gd name="T74" fmla="*/ 307 w 339"/>
                <a:gd name="T75" fmla="*/ 35 h 307"/>
                <a:gd name="T76" fmla="*/ 295 w 339"/>
                <a:gd name="T77" fmla="*/ 80 h 307"/>
                <a:gd name="T78" fmla="*/ 290 w 339"/>
                <a:gd name="T79" fmla="*/ 134 h 307"/>
                <a:gd name="T80" fmla="*/ 290 w 339"/>
                <a:gd name="T81" fmla="*/ 172 h 307"/>
                <a:gd name="T82" fmla="*/ 295 w 339"/>
                <a:gd name="T83" fmla="*/ 225 h 307"/>
                <a:gd name="T84" fmla="*/ 307 w 339"/>
                <a:gd name="T85" fmla="*/ 27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9" h="307">
                  <a:moveTo>
                    <a:pt x="339" y="0"/>
                  </a:moveTo>
                  <a:lnTo>
                    <a:pt x="339" y="0"/>
                  </a:lnTo>
                  <a:lnTo>
                    <a:pt x="326" y="5"/>
                  </a:lnTo>
                  <a:lnTo>
                    <a:pt x="309" y="13"/>
                  </a:lnTo>
                  <a:lnTo>
                    <a:pt x="286" y="22"/>
                  </a:lnTo>
                  <a:lnTo>
                    <a:pt x="259" y="33"/>
                  </a:lnTo>
                  <a:lnTo>
                    <a:pt x="227" y="42"/>
                  </a:lnTo>
                  <a:lnTo>
                    <a:pt x="191" y="51"/>
                  </a:lnTo>
                  <a:lnTo>
                    <a:pt x="172" y="54"/>
                  </a:lnTo>
                  <a:lnTo>
                    <a:pt x="150" y="56"/>
                  </a:lnTo>
                  <a:lnTo>
                    <a:pt x="129" y="58"/>
                  </a:lnTo>
                  <a:lnTo>
                    <a:pt x="107" y="59"/>
                  </a:lnTo>
                  <a:lnTo>
                    <a:pt x="107" y="59"/>
                  </a:lnTo>
                  <a:lnTo>
                    <a:pt x="70" y="58"/>
                  </a:lnTo>
                  <a:lnTo>
                    <a:pt x="52" y="55"/>
                  </a:lnTo>
                  <a:lnTo>
                    <a:pt x="32" y="53"/>
                  </a:lnTo>
                  <a:lnTo>
                    <a:pt x="32" y="53"/>
                  </a:lnTo>
                  <a:lnTo>
                    <a:pt x="23" y="66"/>
                  </a:lnTo>
                  <a:lnTo>
                    <a:pt x="16" y="79"/>
                  </a:lnTo>
                  <a:lnTo>
                    <a:pt x="11" y="92"/>
                  </a:lnTo>
                  <a:lnTo>
                    <a:pt x="5" y="104"/>
                  </a:lnTo>
                  <a:lnTo>
                    <a:pt x="3" y="117"/>
                  </a:lnTo>
                  <a:lnTo>
                    <a:pt x="0" y="129"/>
                  </a:lnTo>
                  <a:lnTo>
                    <a:pt x="0" y="141"/>
                  </a:lnTo>
                  <a:lnTo>
                    <a:pt x="0" y="153"/>
                  </a:lnTo>
                  <a:lnTo>
                    <a:pt x="0" y="153"/>
                  </a:lnTo>
                  <a:lnTo>
                    <a:pt x="0" y="165"/>
                  </a:lnTo>
                  <a:lnTo>
                    <a:pt x="0" y="176"/>
                  </a:lnTo>
                  <a:lnTo>
                    <a:pt x="3" y="190"/>
                  </a:lnTo>
                  <a:lnTo>
                    <a:pt x="5" y="201"/>
                  </a:lnTo>
                  <a:lnTo>
                    <a:pt x="11" y="215"/>
                  </a:lnTo>
                  <a:lnTo>
                    <a:pt x="16" y="228"/>
                  </a:lnTo>
                  <a:lnTo>
                    <a:pt x="23" y="241"/>
                  </a:lnTo>
                  <a:lnTo>
                    <a:pt x="32" y="254"/>
                  </a:lnTo>
                  <a:lnTo>
                    <a:pt x="32" y="254"/>
                  </a:lnTo>
                  <a:lnTo>
                    <a:pt x="57" y="250"/>
                  </a:lnTo>
                  <a:lnTo>
                    <a:pt x="82" y="248"/>
                  </a:lnTo>
                  <a:lnTo>
                    <a:pt x="82" y="248"/>
                  </a:lnTo>
                  <a:lnTo>
                    <a:pt x="107" y="248"/>
                  </a:lnTo>
                  <a:lnTo>
                    <a:pt x="107" y="248"/>
                  </a:lnTo>
                  <a:lnTo>
                    <a:pt x="143" y="249"/>
                  </a:lnTo>
                  <a:lnTo>
                    <a:pt x="177" y="253"/>
                  </a:lnTo>
                  <a:lnTo>
                    <a:pt x="177" y="253"/>
                  </a:lnTo>
                  <a:lnTo>
                    <a:pt x="207" y="258"/>
                  </a:lnTo>
                  <a:lnTo>
                    <a:pt x="234" y="266"/>
                  </a:lnTo>
                  <a:lnTo>
                    <a:pt x="259" y="274"/>
                  </a:lnTo>
                  <a:lnTo>
                    <a:pt x="281" y="282"/>
                  </a:lnTo>
                  <a:lnTo>
                    <a:pt x="317" y="296"/>
                  </a:lnTo>
                  <a:lnTo>
                    <a:pt x="339" y="307"/>
                  </a:lnTo>
                  <a:lnTo>
                    <a:pt x="339" y="307"/>
                  </a:lnTo>
                  <a:lnTo>
                    <a:pt x="331" y="295"/>
                  </a:lnTo>
                  <a:lnTo>
                    <a:pt x="323" y="282"/>
                  </a:lnTo>
                  <a:lnTo>
                    <a:pt x="317" y="265"/>
                  </a:lnTo>
                  <a:lnTo>
                    <a:pt x="311" y="246"/>
                  </a:lnTo>
                  <a:lnTo>
                    <a:pt x="306" y="225"/>
                  </a:lnTo>
                  <a:lnTo>
                    <a:pt x="303" y="203"/>
                  </a:lnTo>
                  <a:lnTo>
                    <a:pt x="301" y="178"/>
                  </a:lnTo>
                  <a:lnTo>
                    <a:pt x="301" y="153"/>
                  </a:lnTo>
                  <a:lnTo>
                    <a:pt x="301" y="153"/>
                  </a:lnTo>
                  <a:lnTo>
                    <a:pt x="301" y="128"/>
                  </a:lnTo>
                  <a:lnTo>
                    <a:pt x="303" y="104"/>
                  </a:lnTo>
                  <a:lnTo>
                    <a:pt x="306" y="82"/>
                  </a:lnTo>
                  <a:lnTo>
                    <a:pt x="311" y="60"/>
                  </a:lnTo>
                  <a:lnTo>
                    <a:pt x="317" y="41"/>
                  </a:lnTo>
                  <a:lnTo>
                    <a:pt x="323" y="25"/>
                  </a:lnTo>
                  <a:lnTo>
                    <a:pt x="331" y="10"/>
                  </a:lnTo>
                  <a:lnTo>
                    <a:pt x="339" y="0"/>
                  </a:lnTo>
                  <a:lnTo>
                    <a:pt x="339" y="0"/>
                  </a:lnTo>
                  <a:close/>
                  <a:moveTo>
                    <a:pt x="313" y="285"/>
                  </a:moveTo>
                  <a:lnTo>
                    <a:pt x="313" y="285"/>
                  </a:lnTo>
                  <a:lnTo>
                    <a:pt x="288" y="273"/>
                  </a:lnTo>
                  <a:lnTo>
                    <a:pt x="256" y="262"/>
                  </a:lnTo>
                  <a:lnTo>
                    <a:pt x="220" y="250"/>
                  </a:lnTo>
                  <a:lnTo>
                    <a:pt x="199" y="246"/>
                  </a:lnTo>
                  <a:lnTo>
                    <a:pt x="178" y="242"/>
                  </a:lnTo>
                  <a:lnTo>
                    <a:pt x="178" y="242"/>
                  </a:lnTo>
                  <a:lnTo>
                    <a:pt x="143" y="238"/>
                  </a:lnTo>
                  <a:lnTo>
                    <a:pt x="107" y="237"/>
                  </a:lnTo>
                  <a:lnTo>
                    <a:pt x="107" y="237"/>
                  </a:lnTo>
                  <a:lnTo>
                    <a:pt x="82" y="237"/>
                  </a:lnTo>
                  <a:lnTo>
                    <a:pt x="82" y="237"/>
                  </a:lnTo>
                  <a:lnTo>
                    <a:pt x="58" y="240"/>
                  </a:lnTo>
                  <a:lnTo>
                    <a:pt x="36" y="242"/>
                  </a:lnTo>
                  <a:lnTo>
                    <a:pt x="36" y="242"/>
                  </a:lnTo>
                  <a:lnTo>
                    <a:pt x="31" y="232"/>
                  </a:lnTo>
                  <a:lnTo>
                    <a:pt x="24" y="221"/>
                  </a:lnTo>
                  <a:lnTo>
                    <a:pt x="20" y="211"/>
                  </a:lnTo>
                  <a:lnTo>
                    <a:pt x="16" y="199"/>
                  </a:lnTo>
                  <a:lnTo>
                    <a:pt x="13" y="188"/>
                  </a:lnTo>
                  <a:lnTo>
                    <a:pt x="12" y="176"/>
                  </a:lnTo>
                  <a:lnTo>
                    <a:pt x="11" y="165"/>
                  </a:lnTo>
                  <a:lnTo>
                    <a:pt x="11" y="153"/>
                  </a:lnTo>
                  <a:lnTo>
                    <a:pt x="11" y="153"/>
                  </a:lnTo>
                  <a:lnTo>
                    <a:pt x="11" y="141"/>
                  </a:lnTo>
                  <a:lnTo>
                    <a:pt x="12" y="129"/>
                  </a:lnTo>
                  <a:lnTo>
                    <a:pt x="13" y="118"/>
                  </a:lnTo>
                  <a:lnTo>
                    <a:pt x="16" y="107"/>
                  </a:lnTo>
                  <a:lnTo>
                    <a:pt x="20" y="96"/>
                  </a:lnTo>
                  <a:lnTo>
                    <a:pt x="24" y="85"/>
                  </a:lnTo>
                  <a:lnTo>
                    <a:pt x="31" y="75"/>
                  </a:lnTo>
                  <a:lnTo>
                    <a:pt x="36" y="64"/>
                  </a:lnTo>
                  <a:lnTo>
                    <a:pt x="36" y="64"/>
                  </a:lnTo>
                  <a:lnTo>
                    <a:pt x="71" y="68"/>
                  </a:lnTo>
                  <a:lnTo>
                    <a:pt x="107" y="70"/>
                  </a:lnTo>
                  <a:lnTo>
                    <a:pt x="107" y="70"/>
                  </a:lnTo>
                  <a:lnTo>
                    <a:pt x="141" y="68"/>
                  </a:lnTo>
                  <a:lnTo>
                    <a:pt x="173" y="64"/>
                  </a:lnTo>
                  <a:lnTo>
                    <a:pt x="202" y="59"/>
                  </a:lnTo>
                  <a:lnTo>
                    <a:pt x="230" y="53"/>
                  </a:lnTo>
                  <a:lnTo>
                    <a:pt x="255" y="45"/>
                  </a:lnTo>
                  <a:lnTo>
                    <a:pt x="277" y="37"/>
                  </a:lnTo>
                  <a:lnTo>
                    <a:pt x="313" y="22"/>
                  </a:lnTo>
                  <a:lnTo>
                    <a:pt x="313" y="22"/>
                  </a:lnTo>
                  <a:lnTo>
                    <a:pt x="307" y="35"/>
                  </a:lnTo>
                  <a:lnTo>
                    <a:pt x="303" y="50"/>
                  </a:lnTo>
                  <a:lnTo>
                    <a:pt x="299" y="64"/>
                  </a:lnTo>
                  <a:lnTo>
                    <a:pt x="295" y="80"/>
                  </a:lnTo>
                  <a:lnTo>
                    <a:pt x="293" y="97"/>
                  </a:lnTo>
                  <a:lnTo>
                    <a:pt x="292" y="116"/>
                  </a:lnTo>
                  <a:lnTo>
                    <a:pt x="290" y="134"/>
                  </a:lnTo>
                  <a:lnTo>
                    <a:pt x="290" y="153"/>
                  </a:lnTo>
                  <a:lnTo>
                    <a:pt x="290" y="153"/>
                  </a:lnTo>
                  <a:lnTo>
                    <a:pt x="290" y="172"/>
                  </a:lnTo>
                  <a:lnTo>
                    <a:pt x="292" y="190"/>
                  </a:lnTo>
                  <a:lnTo>
                    <a:pt x="293" y="208"/>
                  </a:lnTo>
                  <a:lnTo>
                    <a:pt x="295" y="225"/>
                  </a:lnTo>
                  <a:lnTo>
                    <a:pt x="299" y="241"/>
                  </a:lnTo>
                  <a:lnTo>
                    <a:pt x="303" y="257"/>
                  </a:lnTo>
                  <a:lnTo>
                    <a:pt x="307" y="271"/>
                  </a:lnTo>
                  <a:lnTo>
                    <a:pt x="313" y="285"/>
                  </a:lnTo>
                  <a:lnTo>
                    <a:pt x="313"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40" name="Freeform 7"/>
            <p:cNvSpPr>
              <a:spLocks/>
            </p:cNvSpPr>
            <p:nvPr/>
          </p:nvSpPr>
          <p:spPr bwMode="auto">
            <a:xfrm>
              <a:off x="5248276" y="1423988"/>
              <a:ext cx="195263" cy="528638"/>
            </a:xfrm>
            <a:custGeom>
              <a:avLst/>
              <a:gdLst>
                <a:gd name="T0" fmla="*/ 60 w 123"/>
                <a:gd name="T1" fmla="*/ 0 h 333"/>
                <a:gd name="T2" fmla="*/ 49 w 123"/>
                <a:gd name="T3" fmla="*/ 1 h 333"/>
                <a:gd name="T4" fmla="*/ 40 w 123"/>
                <a:gd name="T5" fmla="*/ 8 h 333"/>
                <a:gd name="T6" fmla="*/ 23 w 123"/>
                <a:gd name="T7" fmla="*/ 30 h 333"/>
                <a:gd name="T8" fmla="*/ 8 w 123"/>
                <a:gd name="T9" fmla="*/ 66 h 333"/>
                <a:gd name="T10" fmla="*/ 0 w 123"/>
                <a:gd name="T11" fmla="*/ 110 h 333"/>
                <a:gd name="T12" fmla="*/ 11 w 123"/>
                <a:gd name="T13" fmla="*/ 108 h 333"/>
                <a:gd name="T14" fmla="*/ 23 w 123"/>
                <a:gd name="T15" fmla="*/ 106 h 333"/>
                <a:gd name="T16" fmla="*/ 37 w 123"/>
                <a:gd name="T17" fmla="*/ 108 h 333"/>
                <a:gd name="T18" fmla="*/ 52 w 123"/>
                <a:gd name="T19" fmla="*/ 113 h 333"/>
                <a:gd name="T20" fmla="*/ 62 w 123"/>
                <a:gd name="T21" fmla="*/ 121 h 333"/>
                <a:gd name="T22" fmla="*/ 73 w 123"/>
                <a:gd name="T23" fmla="*/ 133 h 333"/>
                <a:gd name="T24" fmla="*/ 77 w 123"/>
                <a:gd name="T25" fmla="*/ 139 h 333"/>
                <a:gd name="T26" fmla="*/ 82 w 123"/>
                <a:gd name="T27" fmla="*/ 156 h 333"/>
                <a:gd name="T28" fmla="*/ 82 w 123"/>
                <a:gd name="T29" fmla="*/ 166 h 333"/>
                <a:gd name="T30" fmla="*/ 81 w 123"/>
                <a:gd name="T31" fmla="*/ 178 h 333"/>
                <a:gd name="T32" fmla="*/ 78 w 123"/>
                <a:gd name="T33" fmla="*/ 189 h 333"/>
                <a:gd name="T34" fmla="*/ 74 w 123"/>
                <a:gd name="T35" fmla="*/ 197 h 333"/>
                <a:gd name="T36" fmla="*/ 62 w 123"/>
                <a:gd name="T37" fmla="*/ 211 h 333"/>
                <a:gd name="T38" fmla="*/ 49 w 123"/>
                <a:gd name="T39" fmla="*/ 220 h 333"/>
                <a:gd name="T40" fmla="*/ 32 w 123"/>
                <a:gd name="T41" fmla="*/ 225 h 333"/>
                <a:gd name="T42" fmla="*/ 23 w 123"/>
                <a:gd name="T43" fmla="*/ 226 h 333"/>
                <a:gd name="T44" fmla="*/ 0 w 123"/>
                <a:gd name="T45" fmla="*/ 221 h 333"/>
                <a:gd name="T46" fmla="*/ 4 w 123"/>
                <a:gd name="T47" fmla="*/ 245 h 333"/>
                <a:gd name="T48" fmla="*/ 15 w 123"/>
                <a:gd name="T49" fmla="*/ 286 h 333"/>
                <a:gd name="T50" fmla="*/ 31 w 123"/>
                <a:gd name="T51" fmla="*/ 315 h 333"/>
                <a:gd name="T52" fmla="*/ 44 w 123"/>
                <a:gd name="T53" fmla="*/ 328 h 333"/>
                <a:gd name="T54" fmla="*/ 54 w 123"/>
                <a:gd name="T55" fmla="*/ 333 h 333"/>
                <a:gd name="T56" fmla="*/ 60 w 123"/>
                <a:gd name="T57" fmla="*/ 333 h 333"/>
                <a:gd name="T58" fmla="*/ 73 w 123"/>
                <a:gd name="T59" fmla="*/ 329 h 333"/>
                <a:gd name="T60" fmla="*/ 85 w 123"/>
                <a:gd name="T61" fmla="*/ 320 h 333"/>
                <a:gd name="T62" fmla="*/ 95 w 123"/>
                <a:gd name="T63" fmla="*/ 304 h 333"/>
                <a:gd name="T64" fmla="*/ 104 w 123"/>
                <a:gd name="T65" fmla="*/ 284 h 333"/>
                <a:gd name="T66" fmla="*/ 118 w 123"/>
                <a:gd name="T67" fmla="*/ 232 h 333"/>
                <a:gd name="T68" fmla="*/ 123 w 123"/>
                <a:gd name="T69" fmla="*/ 166 h 333"/>
                <a:gd name="T70" fmla="*/ 122 w 123"/>
                <a:gd name="T71" fmla="*/ 133 h 333"/>
                <a:gd name="T72" fmla="*/ 112 w 123"/>
                <a:gd name="T73" fmla="*/ 72 h 333"/>
                <a:gd name="T74" fmla="*/ 99 w 123"/>
                <a:gd name="T75" fmla="*/ 37 h 333"/>
                <a:gd name="T76" fmla="*/ 90 w 123"/>
                <a:gd name="T77" fmla="*/ 19 h 333"/>
                <a:gd name="T78" fmla="*/ 78 w 123"/>
                <a:gd name="T79" fmla="*/ 6 h 333"/>
                <a:gd name="T80" fmla="*/ 66 w 123"/>
                <a:gd name="T81" fmla="*/ 0 h 333"/>
                <a:gd name="T82" fmla="*/ 60 w 123"/>
                <a:gd name="T83"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3" h="333">
                  <a:moveTo>
                    <a:pt x="60" y="0"/>
                  </a:moveTo>
                  <a:lnTo>
                    <a:pt x="60" y="0"/>
                  </a:lnTo>
                  <a:lnTo>
                    <a:pt x="54" y="0"/>
                  </a:lnTo>
                  <a:lnTo>
                    <a:pt x="49" y="1"/>
                  </a:lnTo>
                  <a:lnTo>
                    <a:pt x="44" y="4"/>
                  </a:lnTo>
                  <a:lnTo>
                    <a:pt x="40" y="8"/>
                  </a:lnTo>
                  <a:lnTo>
                    <a:pt x="31" y="17"/>
                  </a:lnTo>
                  <a:lnTo>
                    <a:pt x="23" y="30"/>
                  </a:lnTo>
                  <a:lnTo>
                    <a:pt x="15" y="47"/>
                  </a:lnTo>
                  <a:lnTo>
                    <a:pt x="8" y="66"/>
                  </a:lnTo>
                  <a:lnTo>
                    <a:pt x="4" y="87"/>
                  </a:lnTo>
                  <a:lnTo>
                    <a:pt x="0" y="110"/>
                  </a:lnTo>
                  <a:lnTo>
                    <a:pt x="0" y="110"/>
                  </a:lnTo>
                  <a:lnTo>
                    <a:pt x="11" y="108"/>
                  </a:lnTo>
                  <a:lnTo>
                    <a:pt x="23" y="106"/>
                  </a:lnTo>
                  <a:lnTo>
                    <a:pt x="23" y="106"/>
                  </a:lnTo>
                  <a:lnTo>
                    <a:pt x="31" y="106"/>
                  </a:lnTo>
                  <a:lnTo>
                    <a:pt x="37" y="108"/>
                  </a:lnTo>
                  <a:lnTo>
                    <a:pt x="45" y="110"/>
                  </a:lnTo>
                  <a:lnTo>
                    <a:pt x="52" y="113"/>
                  </a:lnTo>
                  <a:lnTo>
                    <a:pt x="57" y="117"/>
                  </a:lnTo>
                  <a:lnTo>
                    <a:pt x="62" y="121"/>
                  </a:lnTo>
                  <a:lnTo>
                    <a:pt x="67" y="126"/>
                  </a:lnTo>
                  <a:lnTo>
                    <a:pt x="73" y="133"/>
                  </a:lnTo>
                  <a:lnTo>
                    <a:pt x="73" y="133"/>
                  </a:lnTo>
                  <a:lnTo>
                    <a:pt x="77" y="139"/>
                  </a:lnTo>
                  <a:lnTo>
                    <a:pt x="79" y="149"/>
                  </a:lnTo>
                  <a:lnTo>
                    <a:pt x="82" y="156"/>
                  </a:lnTo>
                  <a:lnTo>
                    <a:pt x="82" y="166"/>
                  </a:lnTo>
                  <a:lnTo>
                    <a:pt x="82" y="166"/>
                  </a:lnTo>
                  <a:lnTo>
                    <a:pt x="82" y="166"/>
                  </a:lnTo>
                  <a:lnTo>
                    <a:pt x="81" y="178"/>
                  </a:lnTo>
                  <a:lnTo>
                    <a:pt x="81" y="178"/>
                  </a:lnTo>
                  <a:lnTo>
                    <a:pt x="78" y="189"/>
                  </a:lnTo>
                  <a:lnTo>
                    <a:pt x="78" y="189"/>
                  </a:lnTo>
                  <a:lnTo>
                    <a:pt x="74" y="197"/>
                  </a:lnTo>
                  <a:lnTo>
                    <a:pt x="69" y="204"/>
                  </a:lnTo>
                  <a:lnTo>
                    <a:pt x="62" y="211"/>
                  </a:lnTo>
                  <a:lnTo>
                    <a:pt x="56" y="216"/>
                  </a:lnTo>
                  <a:lnTo>
                    <a:pt x="49" y="220"/>
                  </a:lnTo>
                  <a:lnTo>
                    <a:pt x="40" y="224"/>
                  </a:lnTo>
                  <a:lnTo>
                    <a:pt x="32" y="225"/>
                  </a:lnTo>
                  <a:lnTo>
                    <a:pt x="23" y="226"/>
                  </a:lnTo>
                  <a:lnTo>
                    <a:pt x="23" y="226"/>
                  </a:lnTo>
                  <a:lnTo>
                    <a:pt x="11" y="225"/>
                  </a:lnTo>
                  <a:lnTo>
                    <a:pt x="0" y="221"/>
                  </a:lnTo>
                  <a:lnTo>
                    <a:pt x="0" y="221"/>
                  </a:lnTo>
                  <a:lnTo>
                    <a:pt x="4" y="245"/>
                  </a:lnTo>
                  <a:lnTo>
                    <a:pt x="8" y="266"/>
                  </a:lnTo>
                  <a:lnTo>
                    <a:pt x="15" y="286"/>
                  </a:lnTo>
                  <a:lnTo>
                    <a:pt x="23" y="302"/>
                  </a:lnTo>
                  <a:lnTo>
                    <a:pt x="31" y="315"/>
                  </a:lnTo>
                  <a:lnTo>
                    <a:pt x="40" y="325"/>
                  </a:lnTo>
                  <a:lnTo>
                    <a:pt x="44" y="328"/>
                  </a:lnTo>
                  <a:lnTo>
                    <a:pt x="49" y="331"/>
                  </a:lnTo>
                  <a:lnTo>
                    <a:pt x="54" y="333"/>
                  </a:lnTo>
                  <a:lnTo>
                    <a:pt x="60" y="333"/>
                  </a:lnTo>
                  <a:lnTo>
                    <a:pt x="60" y="333"/>
                  </a:lnTo>
                  <a:lnTo>
                    <a:pt x="66" y="332"/>
                  </a:lnTo>
                  <a:lnTo>
                    <a:pt x="73" y="329"/>
                  </a:lnTo>
                  <a:lnTo>
                    <a:pt x="78" y="325"/>
                  </a:lnTo>
                  <a:lnTo>
                    <a:pt x="85" y="320"/>
                  </a:lnTo>
                  <a:lnTo>
                    <a:pt x="90" y="313"/>
                  </a:lnTo>
                  <a:lnTo>
                    <a:pt x="95" y="304"/>
                  </a:lnTo>
                  <a:lnTo>
                    <a:pt x="99" y="295"/>
                  </a:lnTo>
                  <a:lnTo>
                    <a:pt x="104" y="284"/>
                  </a:lnTo>
                  <a:lnTo>
                    <a:pt x="112" y="259"/>
                  </a:lnTo>
                  <a:lnTo>
                    <a:pt x="118" y="232"/>
                  </a:lnTo>
                  <a:lnTo>
                    <a:pt x="122" y="200"/>
                  </a:lnTo>
                  <a:lnTo>
                    <a:pt x="123" y="166"/>
                  </a:lnTo>
                  <a:lnTo>
                    <a:pt x="123" y="166"/>
                  </a:lnTo>
                  <a:lnTo>
                    <a:pt x="122" y="133"/>
                  </a:lnTo>
                  <a:lnTo>
                    <a:pt x="118" y="101"/>
                  </a:lnTo>
                  <a:lnTo>
                    <a:pt x="112" y="72"/>
                  </a:lnTo>
                  <a:lnTo>
                    <a:pt x="104" y="48"/>
                  </a:lnTo>
                  <a:lnTo>
                    <a:pt x="99" y="37"/>
                  </a:lnTo>
                  <a:lnTo>
                    <a:pt x="95" y="27"/>
                  </a:lnTo>
                  <a:lnTo>
                    <a:pt x="90" y="19"/>
                  </a:lnTo>
                  <a:lnTo>
                    <a:pt x="85" y="11"/>
                  </a:lnTo>
                  <a:lnTo>
                    <a:pt x="78" y="6"/>
                  </a:lnTo>
                  <a:lnTo>
                    <a:pt x="73" y="2"/>
                  </a:lnTo>
                  <a:lnTo>
                    <a:pt x="66" y="0"/>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grpSp>
      <p:grpSp>
        <p:nvGrpSpPr>
          <p:cNvPr id="41" name="Группа 40"/>
          <p:cNvGrpSpPr/>
          <p:nvPr/>
        </p:nvGrpSpPr>
        <p:grpSpPr>
          <a:xfrm>
            <a:off x="2001780" y="4120618"/>
            <a:ext cx="508487" cy="436308"/>
            <a:chOff x="2867026" y="5345113"/>
            <a:chExt cx="749300" cy="642938"/>
          </a:xfrm>
          <a:solidFill>
            <a:schemeClr val="bg1">
              <a:lumMod val="50000"/>
            </a:schemeClr>
          </a:solidFill>
        </p:grpSpPr>
        <p:sp>
          <p:nvSpPr>
            <p:cNvPr id="42" name="Freeform 8"/>
            <p:cNvSpPr>
              <a:spLocks noEditPoints="1"/>
            </p:cNvSpPr>
            <p:nvPr/>
          </p:nvSpPr>
          <p:spPr bwMode="auto">
            <a:xfrm>
              <a:off x="3116263" y="5446713"/>
              <a:ext cx="400050" cy="398463"/>
            </a:xfrm>
            <a:custGeom>
              <a:avLst/>
              <a:gdLst>
                <a:gd name="T0" fmla="*/ 116 w 252"/>
                <a:gd name="T1" fmla="*/ 0 h 251"/>
                <a:gd name="T2" fmla="*/ 69 w 252"/>
                <a:gd name="T3" fmla="*/ 14 h 251"/>
                <a:gd name="T4" fmla="*/ 30 w 252"/>
                <a:gd name="T5" fmla="*/ 44 h 251"/>
                <a:gd name="T6" fmla="*/ 11 w 252"/>
                <a:gd name="T7" fmla="*/ 76 h 251"/>
                <a:gd name="T8" fmla="*/ 0 w 252"/>
                <a:gd name="T9" fmla="*/ 123 h 251"/>
                <a:gd name="T10" fmla="*/ 5 w 252"/>
                <a:gd name="T11" fmla="*/ 159 h 251"/>
                <a:gd name="T12" fmla="*/ 25 w 252"/>
                <a:gd name="T13" fmla="*/ 200 h 251"/>
                <a:gd name="T14" fmla="*/ 59 w 252"/>
                <a:gd name="T15" fmla="*/ 232 h 251"/>
                <a:gd name="T16" fmla="*/ 102 w 252"/>
                <a:gd name="T17" fmla="*/ 249 h 251"/>
                <a:gd name="T18" fmla="*/ 137 w 252"/>
                <a:gd name="T19" fmla="*/ 250 h 251"/>
                <a:gd name="T20" fmla="*/ 174 w 252"/>
                <a:gd name="T21" fmla="*/ 242 h 251"/>
                <a:gd name="T22" fmla="*/ 214 w 252"/>
                <a:gd name="T23" fmla="*/ 214 h 251"/>
                <a:gd name="T24" fmla="*/ 241 w 252"/>
                <a:gd name="T25" fmla="*/ 175 h 251"/>
                <a:gd name="T26" fmla="*/ 252 w 252"/>
                <a:gd name="T27" fmla="*/ 127 h 251"/>
                <a:gd name="T28" fmla="*/ 247 w 252"/>
                <a:gd name="T29" fmla="*/ 90 h 251"/>
                <a:gd name="T30" fmla="*/ 227 w 252"/>
                <a:gd name="T31" fmla="*/ 50 h 251"/>
                <a:gd name="T32" fmla="*/ 193 w 252"/>
                <a:gd name="T33" fmla="*/ 19 h 251"/>
                <a:gd name="T34" fmla="*/ 150 w 252"/>
                <a:gd name="T35" fmla="*/ 2 h 251"/>
                <a:gd name="T36" fmla="*/ 12 w 252"/>
                <a:gd name="T37" fmla="*/ 135 h 251"/>
                <a:gd name="T38" fmla="*/ 13 w 252"/>
                <a:gd name="T39" fmla="*/ 112 h 251"/>
                <a:gd name="T40" fmla="*/ 48 w 252"/>
                <a:gd name="T41" fmla="*/ 130 h 251"/>
                <a:gd name="T42" fmla="*/ 70 w 252"/>
                <a:gd name="T43" fmla="*/ 163 h 251"/>
                <a:gd name="T44" fmla="*/ 77 w 252"/>
                <a:gd name="T45" fmla="*/ 195 h 251"/>
                <a:gd name="T46" fmla="*/ 58 w 252"/>
                <a:gd name="T47" fmla="*/ 217 h 251"/>
                <a:gd name="T48" fmla="*/ 24 w 252"/>
                <a:gd name="T49" fmla="*/ 176 h 251"/>
                <a:gd name="T50" fmla="*/ 12 w 252"/>
                <a:gd name="T51" fmla="*/ 135 h 251"/>
                <a:gd name="T52" fmla="*/ 125 w 252"/>
                <a:gd name="T53" fmla="*/ 239 h 251"/>
                <a:gd name="T54" fmla="*/ 107 w 252"/>
                <a:gd name="T55" fmla="*/ 226 h 251"/>
                <a:gd name="T56" fmla="*/ 120 w 252"/>
                <a:gd name="T57" fmla="*/ 221 h 251"/>
                <a:gd name="T58" fmla="*/ 138 w 252"/>
                <a:gd name="T59" fmla="*/ 197 h 251"/>
                <a:gd name="T60" fmla="*/ 121 w 252"/>
                <a:gd name="T61" fmla="*/ 171 h 251"/>
                <a:gd name="T62" fmla="*/ 108 w 252"/>
                <a:gd name="T63" fmla="*/ 167 h 251"/>
                <a:gd name="T64" fmla="*/ 96 w 252"/>
                <a:gd name="T65" fmla="*/ 134 h 251"/>
                <a:gd name="T66" fmla="*/ 102 w 252"/>
                <a:gd name="T67" fmla="*/ 122 h 251"/>
                <a:gd name="T68" fmla="*/ 98 w 252"/>
                <a:gd name="T69" fmla="*/ 92 h 251"/>
                <a:gd name="T70" fmla="*/ 67 w 252"/>
                <a:gd name="T71" fmla="*/ 85 h 251"/>
                <a:gd name="T72" fmla="*/ 55 w 252"/>
                <a:gd name="T73" fmla="*/ 90 h 251"/>
                <a:gd name="T74" fmla="*/ 22 w 252"/>
                <a:gd name="T75" fmla="*/ 76 h 251"/>
                <a:gd name="T76" fmla="*/ 49 w 252"/>
                <a:gd name="T77" fmla="*/ 42 h 251"/>
                <a:gd name="T78" fmla="*/ 102 w 252"/>
                <a:gd name="T79" fmla="*/ 14 h 251"/>
                <a:gd name="T80" fmla="*/ 127 w 252"/>
                <a:gd name="T81" fmla="*/ 11 h 251"/>
                <a:gd name="T82" fmla="*/ 167 w 252"/>
                <a:gd name="T83" fmla="*/ 19 h 251"/>
                <a:gd name="T84" fmla="*/ 203 w 252"/>
                <a:gd name="T85" fmla="*/ 40 h 251"/>
                <a:gd name="T86" fmla="*/ 228 w 252"/>
                <a:gd name="T87" fmla="*/ 75 h 251"/>
                <a:gd name="T88" fmla="*/ 240 w 252"/>
                <a:gd name="T89" fmla="*/ 116 h 251"/>
                <a:gd name="T90" fmla="*/ 237 w 252"/>
                <a:gd name="T91" fmla="*/ 150 h 251"/>
                <a:gd name="T92" fmla="*/ 220 w 252"/>
                <a:gd name="T93" fmla="*/ 189 h 251"/>
                <a:gd name="T94" fmla="*/ 189 w 252"/>
                <a:gd name="T95" fmla="*/ 221 h 251"/>
                <a:gd name="T96" fmla="*/ 148 w 252"/>
                <a:gd name="T97" fmla="*/ 23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2" h="251">
                  <a:moveTo>
                    <a:pt x="127" y="0"/>
                  </a:moveTo>
                  <a:lnTo>
                    <a:pt x="127" y="0"/>
                  </a:lnTo>
                  <a:lnTo>
                    <a:pt x="116" y="0"/>
                  </a:lnTo>
                  <a:lnTo>
                    <a:pt x="116" y="0"/>
                  </a:lnTo>
                  <a:lnTo>
                    <a:pt x="103" y="1"/>
                  </a:lnTo>
                  <a:lnTo>
                    <a:pt x="91" y="5"/>
                  </a:lnTo>
                  <a:lnTo>
                    <a:pt x="79" y="9"/>
                  </a:lnTo>
                  <a:lnTo>
                    <a:pt x="69" y="14"/>
                  </a:lnTo>
                  <a:lnTo>
                    <a:pt x="58" y="19"/>
                  </a:lnTo>
                  <a:lnTo>
                    <a:pt x="48" y="27"/>
                  </a:lnTo>
                  <a:lnTo>
                    <a:pt x="38" y="35"/>
                  </a:lnTo>
                  <a:lnTo>
                    <a:pt x="30" y="44"/>
                  </a:lnTo>
                  <a:lnTo>
                    <a:pt x="30" y="44"/>
                  </a:lnTo>
                  <a:lnTo>
                    <a:pt x="22" y="54"/>
                  </a:lnTo>
                  <a:lnTo>
                    <a:pt x="16" y="64"/>
                  </a:lnTo>
                  <a:lnTo>
                    <a:pt x="11" y="76"/>
                  </a:lnTo>
                  <a:lnTo>
                    <a:pt x="7" y="87"/>
                  </a:lnTo>
                  <a:lnTo>
                    <a:pt x="3" y="98"/>
                  </a:lnTo>
                  <a:lnTo>
                    <a:pt x="1" y="110"/>
                  </a:lnTo>
                  <a:lnTo>
                    <a:pt x="0" y="123"/>
                  </a:lnTo>
                  <a:lnTo>
                    <a:pt x="1" y="135"/>
                  </a:lnTo>
                  <a:lnTo>
                    <a:pt x="1" y="135"/>
                  </a:lnTo>
                  <a:lnTo>
                    <a:pt x="3" y="147"/>
                  </a:lnTo>
                  <a:lnTo>
                    <a:pt x="5" y="159"/>
                  </a:lnTo>
                  <a:lnTo>
                    <a:pt x="9" y="171"/>
                  </a:lnTo>
                  <a:lnTo>
                    <a:pt x="13" y="181"/>
                  </a:lnTo>
                  <a:lnTo>
                    <a:pt x="20" y="191"/>
                  </a:lnTo>
                  <a:lnTo>
                    <a:pt x="25" y="200"/>
                  </a:lnTo>
                  <a:lnTo>
                    <a:pt x="33" y="209"/>
                  </a:lnTo>
                  <a:lnTo>
                    <a:pt x="41" y="217"/>
                  </a:lnTo>
                  <a:lnTo>
                    <a:pt x="50" y="225"/>
                  </a:lnTo>
                  <a:lnTo>
                    <a:pt x="59" y="232"/>
                  </a:lnTo>
                  <a:lnTo>
                    <a:pt x="70" y="237"/>
                  </a:lnTo>
                  <a:lnTo>
                    <a:pt x="80" y="242"/>
                  </a:lnTo>
                  <a:lnTo>
                    <a:pt x="91" y="246"/>
                  </a:lnTo>
                  <a:lnTo>
                    <a:pt x="102" y="249"/>
                  </a:lnTo>
                  <a:lnTo>
                    <a:pt x="113" y="250"/>
                  </a:lnTo>
                  <a:lnTo>
                    <a:pt x="125" y="251"/>
                  </a:lnTo>
                  <a:lnTo>
                    <a:pt x="125" y="251"/>
                  </a:lnTo>
                  <a:lnTo>
                    <a:pt x="137" y="250"/>
                  </a:lnTo>
                  <a:lnTo>
                    <a:pt x="137" y="250"/>
                  </a:lnTo>
                  <a:lnTo>
                    <a:pt x="149" y="249"/>
                  </a:lnTo>
                  <a:lnTo>
                    <a:pt x="162" y="246"/>
                  </a:lnTo>
                  <a:lnTo>
                    <a:pt x="174" y="242"/>
                  </a:lnTo>
                  <a:lnTo>
                    <a:pt x="185" y="237"/>
                  </a:lnTo>
                  <a:lnTo>
                    <a:pt x="195" y="230"/>
                  </a:lnTo>
                  <a:lnTo>
                    <a:pt x="204" y="224"/>
                  </a:lnTo>
                  <a:lnTo>
                    <a:pt x="214" y="214"/>
                  </a:lnTo>
                  <a:lnTo>
                    <a:pt x="222" y="207"/>
                  </a:lnTo>
                  <a:lnTo>
                    <a:pt x="229" y="196"/>
                  </a:lnTo>
                  <a:lnTo>
                    <a:pt x="236" y="187"/>
                  </a:lnTo>
                  <a:lnTo>
                    <a:pt x="241" y="175"/>
                  </a:lnTo>
                  <a:lnTo>
                    <a:pt x="245" y="164"/>
                  </a:lnTo>
                  <a:lnTo>
                    <a:pt x="249" y="152"/>
                  </a:lnTo>
                  <a:lnTo>
                    <a:pt x="251" y="139"/>
                  </a:lnTo>
                  <a:lnTo>
                    <a:pt x="252" y="127"/>
                  </a:lnTo>
                  <a:lnTo>
                    <a:pt x="252" y="114"/>
                  </a:lnTo>
                  <a:lnTo>
                    <a:pt x="252" y="114"/>
                  </a:lnTo>
                  <a:lnTo>
                    <a:pt x="249" y="102"/>
                  </a:lnTo>
                  <a:lnTo>
                    <a:pt x="247" y="90"/>
                  </a:lnTo>
                  <a:lnTo>
                    <a:pt x="244" y="80"/>
                  </a:lnTo>
                  <a:lnTo>
                    <a:pt x="239" y="69"/>
                  </a:lnTo>
                  <a:lnTo>
                    <a:pt x="233" y="59"/>
                  </a:lnTo>
                  <a:lnTo>
                    <a:pt x="227" y="50"/>
                  </a:lnTo>
                  <a:lnTo>
                    <a:pt x="219" y="40"/>
                  </a:lnTo>
                  <a:lnTo>
                    <a:pt x="211" y="32"/>
                  </a:lnTo>
                  <a:lnTo>
                    <a:pt x="202" y="26"/>
                  </a:lnTo>
                  <a:lnTo>
                    <a:pt x="193" y="19"/>
                  </a:lnTo>
                  <a:lnTo>
                    <a:pt x="183" y="13"/>
                  </a:lnTo>
                  <a:lnTo>
                    <a:pt x="173" y="9"/>
                  </a:lnTo>
                  <a:lnTo>
                    <a:pt x="161" y="5"/>
                  </a:lnTo>
                  <a:lnTo>
                    <a:pt x="150" y="2"/>
                  </a:lnTo>
                  <a:lnTo>
                    <a:pt x="138" y="0"/>
                  </a:lnTo>
                  <a:lnTo>
                    <a:pt x="127" y="0"/>
                  </a:lnTo>
                  <a:lnTo>
                    <a:pt x="127" y="0"/>
                  </a:lnTo>
                  <a:close/>
                  <a:moveTo>
                    <a:pt x="12" y="135"/>
                  </a:moveTo>
                  <a:lnTo>
                    <a:pt x="12" y="135"/>
                  </a:lnTo>
                  <a:lnTo>
                    <a:pt x="12" y="122"/>
                  </a:lnTo>
                  <a:lnTo>
                    <a:pt x="13" y="112"/>
                  </a:lnTo>
                  <a:lnTo>
                    <a:pt x="13" y="112"/>
                  </a:lnTo>
                  <a:lnTo>
                    <a:pt x="22" y="114"/>
                  </a:lnTo>
                  <a:lnTo>
                    <a:pt x="32" y="118"/>
                  </a:lnTo>
                  <a:lnTo>
                    <a:pt x="40" y="123"/>
                  </a:lnTo>
                  <a:lnTo>
                    <a:pt x="48" y="130"/>
                  </a:lnTo>
                  <a:lnTo>
                    <a:pt x="54" y="137"/>
                  </a:lnTo>
                  <a:lnTo>
                    <a:pt x="61" y="145"/>
                  </a:lnTo>
                  <a:lnTo>
                    <a:pt x="66" y="152"/>
                  </a:lnTo>
                  <a:lnTo>
                    <a:pt x="70" y="163"/>
                  </a:lnTo>
                  <a:lnTo>
                    <a:pt x="70" y="163"/>
                  </a:lnTo>
                  <a:lnTo>
                    <a:pt x="73" y="171"/>
                  </a:lnTo>
                  <a:lnTo>
                    <a:pt x="75" y="179"/>
                  </a:lnTo>
                  <a:lnTo>
                    <a:pt x="77" y="195"/>
                  </a:lnTo>
                  <a:lnTo>
                    <a:pt x="74" y="209"/>
                  </a:lnTo>
                  <a:lnTo>
                    <a:pt x="70" y="225"/>
                  </a:lnTo>
                  <a:lnTo>
                    <a:pt x="70" y="225"/>
                  </a:lnTo>
                  <a:lnTo>
                    <a:pt x="58" y="217"/>
                  </a:lnTo>
                  <a:lnTo>
                    <a:pt x="48" y="208"/>
                  </a:lnTo>
                  <a:lnTo>
                    <a:pt x="38" y="199"/>
                  </a:lnTo>
                  <a:lnTo>
                    <a:pt x="30" y="188"/>
                  </a:lnTo>
                  <a:lnTo>
                    <a:pt x="24" y="176"/>
                  </a:lnTo>
                  <a:lnTo>
                    <a:pt x="19" y="163"/>
                  </a:lnTo>
                  <a:lnTo>
                    <a:pt x="15" y="149"/>
                  </a:lnTo>
                  <a:lnTo>
                    <a:pt x="12" y="135"/>
                  </a:lnTo>
                  <a:lnTo>
                    <a:pt x="12" y="135"/>
                  </a:lnTo>
                  <a:close/>
                  <a:moveTo>
                    <a:pt x="136" y="239"/>
                  </a:moveTo>
                  <a:lnTo>
                    <a:pt x="136" y="239"/>
                  </a:lnTo>
                  <a:lnTo>
                    <a:pt x="125" y="239"/>
                  </a:lnTo>
                  <a:lnTo>
                    <a:pt x="125" y="239"/>
                  </a:lnTo>
                  <a:lnTo>
                    <a:pt x="115" y="238"/>
                  </a:lnTo>
                  <a:lnTo>
                    <a:pt x="103" y="237"/>
                  </a:lnTo>
                  <a:lnTo>
                    <a:pt x="103" y="237"/>
                  </a:lnTo>
                  <a:lnTo>
                    <a:pt x="107" y="226"/>
                  </a:lnTo>
                  <a:lnTo>
                    <a:pt x="107" y="226"/>
                  </a:lnTo>
                  <a:lnTo>
                    <a:pt x="109" y="225"/>
                  </a:lnTo>
                  <a:lnTo>
                    <a:pt x="120" y="221"/>
                  </a:lnTo>
                  <a:lnTo>
                    <a:pt x="120" y="221"/>
                  </a:lnTo>
                  <a:lnTo>
                    <a:pt x="128" y="217"/>
                  </a:lnTo>
                  <a:lnTo>
                    <a:pt x="133" y="212"/>
                  </a:lnTo>
                  <a:lnTo>
                    <a:pt x="137" y="205"/>
                  </a:lnTo>
                  <a:lnTo>
                    <a:pt x="138" y="197"/>
                  </a:lnTo>
                  <a:lnTo>
                    <a:pt x="137" y="189"/>
                  </a:lnTo>
                  <a:lnTo>
                    <a:pt x="135" y="181"/>
                  </a:lnTo>
                  <a:lnTo>
                    <a:pt x="129" y="176"/>
                  </a:lnTo>
                  <a:lnTo>
                    <a:pt x="121" y="171"/>
                  </a:lnTo>
                  <a:lnTo>
                    <a:pt x="111" y="168"/>
                  </a:lnTo>
                  <a:lnTo>
                    <a:pt x="111" y="168"/>
                  </a:lnTo>
                  <a:lnTo>
                    <a:pt x="108" y="167"/>
                  </a:lnTo>
                  <a:lnTo>
                    <a:pt x="108" y="167"/>
                  </a:lnTo>
                  <a:lnTo>
                    <a:pt x="108" y="162"/>
                  </a:lnTo>
                  <a:lnTo>
                    <a:pt x="108" y="162"/>
                  </a:lnTo>
                  <a:lnTo>
                    <a:pt x="103" y="147"/>
                  </a:lnTo>
                  <a:lnTo>
                    <a:pt x="96" y="134"/>
                  </a:lnTo>
                  <a:lnTo>
                    <a:pt x="96" y="134"/>
                  </a:lnTo>
                  <a:lnTo>
                    <a:pt x="98" y="131"/>
                  </a:lnTo>
                  <a:lnTo>
                    <a:pt x="102" y="122"/>
                  </a:lnTo>
                  <a:lnTo>
                    <a:pt x="102" y="122"/>
                  </a:lnTo>
                  <a:lnTo>
                    <a:pt x="104" y="113"/>
                  </a:lnTo>
                  <a:lnTo>
                    <a:pt x="104" y="105"/>
                  </a:lnTo>
                  <a:lnTo>
                    <a:pt x="102" y="98"/>
                  </a:lnTo>
                  <a:lnTo>
                    <a:pt x="98" y="92"/>
                  </a:lnTo>
                  <a:lnTo>
                    <a:pt x="91" y="87"/>
                  </a:lnTo>
                  <a:lnTo>
                    <a:pt x="84" y="84"/>
                  </a:lnTo>
                  <a:lnTo>
                    <a:pt x="77" y="83"/>
                  </a:lnTo>
                  <a:lnTo>
                    <a:pt x="67" y="85"/>
                  </a:lnTo>
                  <a:lnTo>
                    <a:pt x="58" y="89"/>
                  </a:lnTo>
                  <a:lnTo>
                    <a:pt x="58" y="89"/>
                  </a:lnTo>
                  <a:lnTo>
                    <a:pt x="55" y="90"/>
                  </a:lnTo>
                  <a:lnTo>
                    <a:pt x="55" y="90"/>
                  </a:lnTo>
                  <a:lnTo>
                    <a:pt x="40" y="83"/>
                  </a:lnTo>
                  <a:lnTo>
                    <a:pt x="22" y="76"/>
                  </a:lnTo>
                  <a:lnTo>
                    <a:pt x="22" y="76"/>
                  </a:lnTo>
                  <a:lnTo>
                    <a:pt x="22" y="76"/>
                  </a:lnTo>
                  <a:lnTo>
                    <a:pt x="22" y="76"/>
                  </a:lnTo>
                  <a:lnTo>
                    <a:pt x="30" y="64"/>
                  </a:lnTo>
                  <a:lnTo>
                    <a:pt x="38" y="52"/>
                  </a:lnTo>
                  <a:lnTo>
                    <a:pt x="49" y="42"/>
                  </a:lnTo>
                  <a:lnTo>
                    <a:pt x="61" y="32"/>
                  </a:lnTo>
                  <a:lnTo>
                    <a:pt x="73" y="25"/>
                  </a:lnTo>
                  <a:lnTo>
                    <a:pt x="87" y="18"/>
                  </a:lnTo>
                  <a:lnTo>
                    <a:pt x="102" y="14"/>
                  </a:lnTo>
                  <a:lnTo>
                    <a:pt x="116" y="11"/>
                  </a:lnTo>
                  <a:lnTo>
                    <a:pt x="116" y="11"/>
                  </a:lnTo>
                  <a:lnTo>
                    <a:pt x="127" y="11"/>
                  </a:lnTo>
                  <a:lnTo>
                    <a:pt x="127" y="11"/>
                  </a:lnTo>
                  <a:lnTo>
                    <a:pt x="137" y="11"/>
                  </a:lnTo>
                  <a:lnTo>
                    <a:pt x="148" y="13"/>
                  </a:lnTo>
                  <a:lnTo>
                    <a:pt x="158" y="15"/>
                  </a:lnTo>
                  <a:lnTo>
                    <a:pt x="167" y="19"/>
                  </a:lnTo>
                  <a:lnTo>
                    <a:pt x="178" y="23"/>
                  </a:lnTo>
                  <a:lnTo>
                    <a:pt x="186" y="29"/>
                  </a:lnTo>
                  <a:lnTo>
                    <a:pt x="195" y="34"/>
                  </a:lnTo>
                  <a:lnTo>
                    <a:pt x="203" y="40"/>
                  </a:lnTo>
                  <a:lnTo>
                    <a:pt x="211" y="48"/>
                  </a:lnTo>
                  <a:lnTo>
                    <a:pt x="218" y="56"/>
                  </a:lnTo>
                  <a:lnTo>
                    <a:pt x="223" y="65"/>
                  </a:lnTo>
                  <a:lnTo>
                    <a:pt x="228" y="75"/>
                  </a:lnTo>
                  <a:lnTo>
                    <a:pt x="232" y="84"/>
                  </a:lnTo>
                  <a:lnTo>
                    <a:pt x="236" y="94"/>
                  </a:lnTo>
                  <a:lnTo>
                    <a:pt x="239" y="105"/>
                  </a:lnTo>
                  <a:lnTo>
                    <a:pt x="240" y="116"/>
                  </a:lnTo>
                  <a:lnTo>
                    <a:pt x="240" y="116"/>
                  </a:lnTo>
                  <a:lnTo>
                    <a:pt x="240" y="127"/>
                  </a:lnTo>
                  <a:lnTo>
                    <a:pt x="240" y="138"/>
                  </a:lnTo>
                  <a:lnTo>
                    <a:pt x="237" y="150"/>
                  </a:lnTo>
                  <a:lnTo>
                    <a:pt x="235" y="160"/>
                  </a:lnTo>
                  <a:lnTo>
                    <a:pt x="231" y="171"/>
                  </a:lnTo>
                  <a:lnTo>
                    <a:pt x="225" y="180"/>
                  </a:lnTo>
                  <a:lnTo>
                    <a:pt x="220" y="189"/>
                  </a:lnTo>
                  <a:lnTo>
                    <a:pt x="214" y="199"/>
                  </a:lnTo>
                  <a:lnTo>
                    <a:pt x="206" y="207"/>
                  </a:lnTo>
                  <a:lnTo>
                    <a:pt x="198" y="214"/>
                  </a:lnTo>
                  <a:lnTo>
                    <a:pt x="189" y="221"/>
                  </a:lnTo>
                  <a:lnTo>
                    <a:pt x="179" y="226"/>
                  </a:lnTo>
                  <a:lnTo>
                    <a:pt x="169" y="230"/>
                  </a:lnTo>
                  <a:lnTo>
                    <a:pt x="158" y="234"/>
                  </a:lnTo>
                  <a:lnTo>
                    <a:pt x="148" y="237"/>
                  </a:lnTo>
                  <a:lnTo>
                    <a:pt x="136" y="239"/>
                  </a:lnTo>
                  <a:lnTo>
                    <a:pt x="136"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43" name="Freeform 9"/>
            <p:cNvSpPr>
              <a:spLocks noEditPoints="1"/>
            </p:cNvSpPr>
            <p:nvPr/>
          </p:nvSpPr>
          <p:spPr bwMode="auto">
            <a:xfrm>
              <a:off x="2867026" y="5345113"/>
              <a:ext cx="749300" cy="642938"/>
            </a:xfrm>
            <a:custGeom>
              <a:avLst/>
              <a:gdLst>
                <a:gd name="T0" fmla="*/ 440 w 472"/>
                <a:gd name="T1" fmla="*/ 152 h 405"/>
                <a:gd name="T2" fmla="*/ 462 w 472"/>
                <a:gd name="T3" fmla="*/ 110 h 405"/>
                <a:gd name="T4" fmla="*/ 408 w 472"/>
                <a:gd name="T5" fmla="*/ 82 h 405"/>
                <a:gd name="T6" fmla="*/ 368 w 472"/>
                <a:gd name="T7" fmla="*/ 48 h 405"/>
                <a:gd name="T8" fmla="*/ 339 w 472"/>
                <a:gd name="T9" fmla="*/ 0 h 405"/>
                <a:gd name="T10" fmla="*/ 293 w 472"/>
                <a:gd name="T11" fmla="*/ 28 h 405"/>
                <a:gd name="T12" fmla="*/ 243 w 472"/>
                <a:gd name="T13" fmla="*/ 29 h 405"/>
                <a:gd name="T14" fmla="*/ 195 w 472"/>
                <a:gd name="T15" fmla="*/ 13 h 405"/>
                <a:gd name="T16" fmla="*/ 176 w 472"/>
                <a:gd name="T17" fmla="*/ 67 h 405"/>
                <a:gd name="T18" fmla="*/ 128 w 472"/>
                <a:gd name="T19" fmla="*/ 104 h 405"/>
                <a:gd name="T20" fmla="*/ 95 w 472"/>
                <a:gd name="T21" fmla="*/ 148 h 405"/>
                <a:gd name="T22" fmla="*/ 46 w 472"/>
                <a:gd name="T23" fmla="*/ 151 h 405"/>
                <a:gd name="T24" fmla="*/ 37 w 472"/>
                <a:gd name="T25" fmla="*/ 209 h 405"/>
                <a:gd name="T26" fmla="*/ 0 w 472"/>
                <a:gd name="T27" fmla="*/ 253 h 405"/>
                <a:gd name="T28" fmla="*/ 31 w 472"/>
                <a:gd name="T29" fmla="*/ 289 h 405"/>
                <a:gd name="T30" fmla="*/ 33 w 472"/>
                <a:gd name="T31" fmla="*/ 346 h 405"/>
                <a:gd name="T32" fmla="*/ 83 w 472"/>
                <a:gd name="T33" fmla="*/ 360 h 405"/>
                <a:gd name="T34" fmla="*/ 129 w 472"/>
                <a:gd name="T35" fmla="*/ 400 h 405"/>
                <a:gd name="T36" fmla="*/ 174 w 472"/>
                <a:gd name="T37" fmla="*/ 376 h 405"/>
                <a:gd name="T38" fmla="*/ 226 w 472"/>
                <a:gd name="T39" fmla="*/ 377 h 405"/>
                <a:gd name="T40" fmla="*/ 273 w 472"/>
                <a:gd name="T41" fmla="*/ 351 h 405"/>
                <a:gd name="T42" fmla="*/ 323 w 472"/>
                <a:gd name="T43" fmla="*/ 350 h 405"/>
                <a:gd name="T44" fmla="*/ 372 w 472"/>
                <a:gd name="T45" fmla="*/ 365 h 405"/>
                <a:gd name="T46" fmla="*/ 390 w 472"/>
                <a:gd name="T47" fmla="*/ 310 h 405"/>
                <a:gd name="T48" fmla="*/ 438 w 472"/>
                <a:gd name="T49" fmla="*/ 273 h 405"/>
                <a:gd name="T50" fmla="*/ 472 w 472"/>
                <a:gd name="T51" fmla="*/ 234 h 405"/>
                <a:gd name="T52" fmla="*/ 170 w 472"/>
                <a:gd name="T53" fmla="*/ 340 h 405"/>
                <a:gd name="T54" fmla="*/ 86 w 472"/>
                <a:gd name="T55" fmla="*/ 317 h 405"/>
                <a:gd name="T56" fmla="*/ 62 w 472"/>
                <a:gd name="T57" fmla="*/ 255 h 405"/>
                <a:gd name="T58" fmla="*/ 108 w 472"/>
                <a:gd name="T59" fmla="*/ 181 h 405"/>
                <a:gd name="T60" fmla="*/ 123 w 472"/>
                <a:gd name="T61" fmla="*/ 206 h 405"/>
                <a:gd name="T62" fmla="*/ 104 w 472"/>
                <a:gd name="T63" fmla="*/ 259 h 405"/>
                <a:gd name="T64" fmla="*/ 144 w 472"/>
                <a:gd name="T65" fmla="*/ 298 h 405"/>
                <a:gd name="T66" fmla="*/ 198 w 472"/>
                <a:gd name="T67" fmla="*/ 326 h 405"/>
                <a:gd name="T68" fmla="*/ 438 w 472"/>
                <a:gd name="T69" fmla="*/ 261 h 405"/>
                <a:gd name="T70" fmla="*/ 379 w 472"/>
                <a:gd name="T71" fmla="*/ 305 h 405"/>
                <a:gd name="T72" fmla="*/ 376 w 472"/>
                <a:gd name="T73" fmla="*/ 348 h 405"/>
                <a:gd name="T74" fmla="*/ 344 w 472"/>
                <a:gd name="T75" fmla="*/ 352 h 405"/>
                <a:gd name="T76" fmla="*/ 284 w 472"/>
                <a:gd name="T77" fmla="*/ 339 h 405"/>
                <a:gd name="T78" fmla="*/ 253 w 472"/>
                <a:gd name="T79" fmla="*/ 358 h 405"/>
                <a:gd name="T80" fmla="*/ 218 w 472"/>
                <a:gd name="T81" fmla="*/ 361 h 405"/>
                <a:gd name="T82" fmla="*/ 205 w 472"/>
                <a:gd name="T83" fmla="*/ 317 h 405"/>
                <a:gd name="T84" fmla="*/ 143 w 472"/>
                <a:gd name="T85" fmla="*/ 286 h 405"/>
                <a:gd name="T86" fmla="*/ 116 w 472"/>
                <a:gd name="T87" fmla="*/ 259 h 405"/>
                <a:gd name="T88" fmla="*/ 133 w 472"/>
                <a:gd name="T89" fmla="*/ 205 h 405"/>
                <a:gd name="T90" fmla="*/ 115 w 472"/>
                <a:gd name="T91" fmla="*/ 158 h 405"/>
                <a:gd name="T92" fmla="*/ 128 w 472"/>
                <a:gd name="T93" fmla="*/ 116 h 405"/>
                <a:gd name="T94" fmla="*/ 176 w 472"/>
                <a:gd name="T95" fmla="*/ 85 h 405"/>
                <a:gd name="T96" fmla="*/ 186 w 472"/>
                <a:gd name="T97" fmla="*/ 37 h 405"/>
                <a:gd name="T98" fmla="*/ 214 w 472"/>
                <a:gd name="T99" fmla="*/ 23 h 405"/>
                <a:gd name="T100" fmla="*/ 249 w 472"/>
                <a:gd name="T101" fmla="*/ 42 h 405"/>
                <a:gd name="T102" fmla="*/ 301 w 472"/>
                <a:gd name="T103" fmla="*/ 36 h 405"/>
                <a:gd name="T104" fmla="*/ 340 w 472"/>
                <a:gd name="T105" fmla="*/ 13 h 405"/>
                <a:gd name="T106" fmla="*/ 356 w 472"/>
                <a:gd name="T107" fmla="*/ 53 h 405"/>
                <a:gd name="T108" fmla="*/ 405 w 472"/>
                <a:gd name="T109" fmla="*/ 94 h 405"/>
                <a:gd name="T110" fmla="*/ 448 w 472"/>
                <a:gd name="T111" fmla="*/ 106 h 405"/>
                <a:gd name="T112" fmla="*/ 427 w 472"/>
                <a:gd name="T113" fmla="*/ 149 h 405"/>
                <a:gd name="T114" fmla="*/ 437 w 472"/>
                <a:gd name="T115" fmla="*/ 207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2" h="405">
                  <a:moveTo>
                    <a:pt x="459" y="210"/>
                  </a:moveTo>
                  <a:lnTo>
                    <a:pt x="447" y="202"/>
                  </a:lnTo>
                  <a:lnTo>
                    <a:pt x="447" y="202"/>
                  </a:lnTo>
                  <a:lnTo>
                    <a:pt x="444" y="199"/>
                  </a:lnTo>
                  <a:lnTo>
                    <a:pt x="444" y="199"/>
                  </a:lnTo>
                  <a:lnTo>
                    <a:pt x="444" y="193"/>
                  </a:lnTo>
                  <a:lnTo>
                    <a:pt x="444" y="193"/>
                  </a:lnTo>
                  <a:lnTo>
                    <a:pt x="444" y="172"/>
                  </a:lnTo>
                  <a:lnTo>
                    <a:pt x="440" y="152"/>
                  </a:lnTo>
                  <a:lnTo>
                    <a:pt x="440" y="152"/>
                  </a:lnTo>
                  <a:lnTo>
                    <a:pt x="443" y="149"/>
                  </a:lnTo>
                  <a:lnTo>
                    <a:pt x="452" y="139"/>
                  </a:lnTo>
                  <a:lnTo>
                    <a:pt x="452" y="139"/>
                  </a:lnTo>
                  <a:lnTo>
                    <a:pt x="456" y="135"/>
                  </a:lnTo>
                  <a:lnTo>
                    <a:pt x="459" y="129"/>
                  </a:lnTo>
                  <a:lnTo>
                    <a:pt x="460" y="125"/>
                  </a:lnTo>
                  <a:lnTo>
                    <a:pt x="462" y="120"/>
                  </a:lnTo>
                  <a:lnTo>
                    <a:pt x="462" y="110"/>
                  </a:lnTo>
                  <a:lnTo>
                    <a:pt x="459" y="100"/>
                  </a:lnTo>
                  <a:lnTo>
                    <a:pt x="454" y="93"/>
                  </a:lnTo>
                  <a:lnTo>
                    <a:pt x="447" y="86"/>
                  </a:lnTo>
                  <a:lnTo>
                    <a:pt x="438" y="81"/>
                  </a:lnTo>
                  <a:lnTo>
                    <a:pt x="433" y="79"/>
                  </a:lnTo>
                  <a:lnTo>
                    <a:pt x="427" y="79"/>
                  </a:lnTo>
                  <a:lnTo>
                    <a:pt x="427" y="79"/>
                  </a:lnTo>
                  <a:lnTo>
                    <a:pt x="422" y="79"/>
                  </a:lnTo>
                  <a:lnTo>
                    <a:pt x="408" y="82"/>
                  </a:lnTo>
                  <a:lnTo>
                    <a:pt x="408" y="82"/>
                  </a:lnTo>
                  <a:lnTo>
                    <a:pt x="404" y="82"/>
                  </a:lnTo>
                  <a:lnTo>
                    <a:pt x="404" y="82"/>
                  </a:lnTo>
                  <a:lnTo>
                    <a:pt x="396" y="74"/>
                  </a:lnTo>
                  <a:lnTo>
                    <a:pt x="388" y="66"/>
                  </a:lnTo>
                  <a:lnTo>
                    <a:pt x="379" y="58"/>
                  </a:lnTo>
                  <a:lnTo>
                    <a:pt x="368" y="52"/>
                  </a:lnTo>
                  <a:lnTo>
                    <a:pt x="368" y="52"/>
                  </a:lnTo>
                  <a:lnTo>
                    <a:pt x="368" y="48"/>
                  </a:lnTo>
                  <a:lnTo>
                    <a:pt x="368" y="35"/>
                  </a:lnTo>
                  <a:lnTo>
                    <a:pt x="368" y="35"/>
                  </a:lnTo>
                  <a:lnTo>
                    <a:pt x="367" y="27"/>
                  </a:lnTo>
                  <a:lnTo>
                    <a:pt x="364" y="20"/>
                  </a:lnTo>
                  <a:lnTo>
                    <a:pt x="360" y="13"/>
                  </a:lnTo>
                  <a:lnTo>
                    <a:pt x="356" y="9"/>
                  </a:lnTo>
                  <a:lnTo>
                    <a:pt x="351" y="6"/>
                  </a:lnTo>
                  <a:lnTo>
                    <a:pt x="344" y="2"/>
                  </a:lnTo>
                  <a:lnTo>
                    <a:pt x="339" y="0"/>
                  </a:lnTo>
                  <a:lnTo>
                    <a:pt x="332" y="0"/>
                  </a:lnTo>
                  <a:lnTo>
                    <a:pt x="332" y="0"/>
                  </a:lnTo>
                  <a:lnTo>
                    <a:pt x="324" y="0"/>
                  </a:lnTo>
                  <a:lnTo>
                    <a:pt x="317" y="3"/>
                  </a:lnTo>
                  <a:lnTo>
                    <a:pt x="310" y="7"/>
                  </a:lnTo>
                  <a:lnTo>
                    <a:pt x="303" y="13"/>
                  </a:lnTo>
                  <a:lnTo>
                    <a:pt x="295" y="25"/>
                  </a:lnTo>
                  <a:lnTo>
                    <a:pt x="295" y="25"/>
                  </a:lnTo>
                  <a:lnTo>
                    <a:pt x="293" y="28"/>
                  </a:lnTo>
                  <a:lnTo>
                    <a:pt x="293" y="28"/>
                  </a:lnTo>
                  <a:lnTo>
                    <a:pt x="288" y="28"/>
                  </a:lnTo>
                  <a:lnTo>
                    <a:pt x="288" y="28"/>
                  </a:lnTo>
                  <a:lnTo>
                    <a:pt x="284" y="28"/>
                  </a:lnTo>
                  <a:lnTo>
                    <a:pt x="284" y="28"/>
                  </a:lnTo>
                  <a:lnTo>
                    <a:pt x="264" y="28"/>
                  </a:lnTo>
                  <a:lnTo>
                    <a:pt x="247" y="32"/>
                  </a:lnTo>
                  <a:lnTo>
                    <a:pt x="247" y="32"/>
                  </a:lnTo>
                  <a:lnTo>
                    <a:pt x="243" y="29"/>
                  </a:lnTo>
                  <a:lnTo>
                    <a:pt x="234" y="20"/>
                  </a:lnTo>
                  <a:lnTo>
                    <a:pt x="234" y="20"/>
                  </a:lnTo>
                  <a:lnTo>
                    <a:pt x="227" y="15"/>
                  </a:lnTo>
                  <a:lnTo>
                    <a:pt x="222" y="12"/>
                  </a:lnTo>
                  <a:lnTo>
                    <a:pt x="215" y="11"/>
                  </a:lnTo>
                  <a:lnTo>
                    <a:pt x="208" y="9"/>
                  </a:lnTo>
                  <a:lnTo>
                    <a:pt x="208" y="9"/>
                  </a:lnTo>
                  <a:lnTo>
                    <a:pt x="202" y="11"/>
                  </a:lnTo>
                  <a:lnTo>
                    <a:pt x="195" y="13"/>
                  </a:lnTo>
                  <a:lnTo>
                    <a:pt x="189" y="16"/>
                  </a:lnTo>
                  <a:lnTo>
                    <a:pt x="183" y="21"/>
                  </a:lnTo>
                  <a:lnTo>
                    <a:pt x="178" y="28"/>
                  </a:lnTo>
                  <a:lnTo>
                    <a:pt x="176" y="35"/>
                  </a:lnTo>
                  <a:lnTo>
                    <a:pt x="174" y="42"/>
                  </a:lnTo>
                  <a:lnTo>
                    <a:pt x="174" y="50"/>
                  </a:lnTo>
                  <a:lnTo>
                    <a:pt x="176" y="64"/>
                  </a:lnTo>
                  <a:lnTo>
                    <a:pt x="176" y="64"/>
                  </a:lnTo>
                  <a:lnTo>
                    <a:pt x="176" y="67"/>
                  </a:lnTo>
                  <a:lnTo>
                    <a:pt x="176" y="67"/>
                  </a:lnTo>
                  <a:lnTo>
                    <a:pt x="168" y="77"/>
                  </a:lnTo>
                  <a:lnTo>
                    <a:pt x="160" y="85"/>
                  </a:lnTo>
                  <a:lnTo>
                    <a:pt x="152" y="94"/>
                  </a:lnTo>
                  <a:lnTo>
                    <a:pt x="145" y="104"/>
                  </a:lnTo>
                  <a:lnTo>
                    <a:pt x="145" y="104"/>
                  </a:lnTo>
                  <a:lnTo>
                    <a:pt x="141" y="104"/>
                  </a:lnTo>
                  <a:lnTo>
                    <a:pt x="128" y="104"/>
                  </a:lnTo>
                  <a:lnTo>
                    <a:pt x="128" y="104"/>
                  </a:lnTo>
                  <a:lnTo>
                    <a:pt x="119" y="106"/>
                  </a:lnTo>
                  <a:lnTo>
                    <a:pt x="112" y="110"/>
                  </a:lnTo>
                  <a:lnTo>
                    <a:pt x="106" y="114"/>
                  </a:lnTo>
                  <a:lnTo>
                    <a:pt x="100" y="119"/>
                  </a:lnTo>
                  <a:lnTo>
                    <a:pt x="96" y="125"/>
                  </a:lnTo>
                  <a:lnTo>
                    <a:pt x="94" y="133"/>
                  </a:lnTo>
                  <a:lnTo>
                    <a:pt x="94" y="141"/>
                  </a:lnTo>
                  <a:lnTo>
                    <a:pt x="95" y="148"/>
                  </a:lnTo>
                  <a:lnTo>
                    <a:pt x="95" y="148"/>
                  </a:lnTo>
                  <a:lnTo>
                    <a:pt x="89" y="152"/>
                  </a:lnTo>
                  <a:lnTo>
                    <a:pt x="89" y="152"/>
                  </a:lnTo>
                  <a:lnTo>
                    <a:pt x="86" y="151"/>
                  </a:lnTo>
                  <a:lnTo>
                    <a:pt x="75" y="145"/>
                  </a:lnTo>
                  <a:lnTo>
                    <a:pt x="75" y="145"/>
                  </a:lnTo>
                  <a:lnTo>
                    <a:pt x="67" y="143"/>
                  </a:lnTo>
                  <a:lnTo>
                    <a:pt x="60" y="143"/>
                  </a:lnTo>
                  <a:lnTo>
                    <a:pt x="52" y="145"/>
                  </a:lnTo>
                  <a:lnTo>
                    <a:pt x="46" y="151"/>
                  </a:lnTo>
                  <a:lnTo>
                    <a:pt x="41" y="156"/>
                  </a:lnTo>
                  <a:lnTo>
                    <a:pt x="38" y="164"/>
                  </a:lnTo>
                  <a:lnTo>
                    <a:pt x="37" y="172"/>
                  </a:lnTo>
                  <a:lnTo>
                    <a:pt x="40" y="181"/>
                  </a:lnTo>
                  <a:lnTo>
                    <a:pt x="44" y="190"/>
                  </a:lnTo>
                  <a:lnTo>
                    <a:pt x="44" y="190"/>
                  </a:lnTo>
                  <a:lnTo>
                    <a:pt x="45" y="193"/>
                  </a:lnTo>
                  <a:lnTo>
                    <a:pt x="45" y="193"/>
                  </a:lnTo>
                  <a:lnTo>
                    <a:pt x="37" y="209"/>
                  </a:lnTo>
                  <a:lnTo>
                    <a:pt x="31" y="224"/>
                  </a:lnTo>
                  <a:lnTo>
                    <a:pt x="31" y="224"/>
                  </a:lnTo>
                  <a:lnTo>
                    <a:pt x="28" y="226"/>
                  </a:lnTo>
                  <a:lnTo>
                    <a:pt x="19" y="230"/>
                  </a:lnTo>
                  <a:lnTo>
                    <a:pt x="19" y="230"/>
                  </a:lnTo>
                  <a:lnTo>
                    <a:pt x="11" y="234"/>
                  </a:lnTo>
                  <a:lnTo>
                    <a:pt x="4" y="239"/>
                  </a:lnTo>
                  <a:lnTo>
                    <a:pt x="2" y="245"/>
                  </a:lnTo>
                  <a:lnTo>
                    <a:pt x="0" y="253"/>
                  </a:lnTo>
                  <a:lnTo>
                    <a:pt x="0" y="261"/>
                  </a:lnTo>
                  <a:lnTo>
                    <a:pt x="4" y="269"/>
                  </a:lnTo>
                  <a:lnTo>
                    <a:pt x="9" y="274"/>
                  </a:lnTo>
                  <a:lnTo>
                    <a:pt x="17" y="280"/>
                  </a:lnTo>
                  <a:lnTo>
                    <a:pt x="27" y="282"/>
                  </a:lnTo>
                  <a:lnTo>
                    <a:pt x="27" y="282"/>
                  </a:lnTo>
                  <a:lnTo>
                    <a:pt x="29" y="284"/>
                  </a:lnTo>
                  <a:lnTo>
                    <a:pt x="29" y="284"/>
                  </a:lnTo>
                  <a:lnTo>
                    <a:pt x="31" y="289"/>
                  </a:lnTo>
                  <a:lnTo>
                    <a:pt x="31" y="289"/>
                  </a:lnTo>
                  <a:lnTo>
                    <a:pt x="36" y="303"/>
                  </a:lnTo>
                  <a:lnTo>
                    <a:pt x="42" y="317"/>
                  </a:lnTo>
                  <a:lnTo>
                    <a:pt x="42" y="317"/>
                  </a:lnTo>
                  <a:lnTo>
                    <a:pt x="41" y="319"/>
                  </a:lnTo>
                  <a:lnTo>
                    <a:pt x="36" y="329"/>
                  </a:lnTo>
                  <a:lnTo>
                    <a:pt x="36" y="329"/>
                  </a:lnTo>
                  <a:lnTo>
                    <a:pt x="33" y="338"/>
                  </a:lnTo>
                  <a:lnTo>
                    <a:pt x="33" y="346"/>
                  </a:lnTo>
                  <a:lnTo>
                    <a:pt x="36" y="352"/>
                  </a:lnTo>
                  <a:lnTo>
                    <a:pt x="41" y="359"/>
                  </a:lnTo>
                  <a:lnTo>
                    <a:pt x="46" y="364"/>
                  </a:lnTo>
                  <a:lnTo>
                    <a:pt x="54" y="367"/>
                  </a:lnTo>
                  <a:lnTo>
                    <a:pt x="62" y="367"/>
                  </a:lnTo>
                  <a:lnTo>
                    <a:pt x="70" y="365"/>
                  </a:lnTo>
                  <a:lnTo>
                    <a:pt x="81" y="361"/>
                  </a:lnTo>
                  <a:lnTo>
                    <a:pt x="81" y="361"/>
                  </a:lnTo>
                  <a:lnTo>
                    <a:pt x="83" y="360"/>
                  </a:lnTo>
                  <a:lnTo>
                    <a:pt x="83" y="360"/>
                  </a:lnTo>
                  <a:lnTo>
                    <a:pt x="99" y="368"/>
                  </a:lnTo>
                  <a:lnTo>
                    <a:pt x="115" y="375"/>
                  </a:lnTo>
                  <a:lnTo>
                    <a:pt x="115" y="375"/>
                  </a:lnTo>
                  <a:lnTo>
                    <a:pt x="116" y="377"/>
                  </a:lnTo>
                  <a:lnTo>
                    <a:pt x="119" y="387"/>
                  </a:lnTo>
                  <a:lnTo>
                    <a:pt x="119" y="387"/>
                  </a:lnTo>
                  <a:lnTo>
                    <a:pt x="123" y="394"/>
                  </a:lnTo>
                  <a:lnTo>
                    <a:pt x="129" y="400"/>
                  </a:lnTo>
                  <a:lnTo>
                    <a:pt x="136" y="404"/>
                  </a:lnTo>
                  <a:lnTo>
                    <a:pt x="144" y="405"/>
                  </a:lnTo>
                  <a:lnTo>
                    <a:pt x="152" y="404"/>
                  </a:lnTo>
                  <a:lnTo>
                    <a:pt x="158" y="401"/>
                  </a:lnTo>
                  <a:lnTo>
                    <a:pt x="165" y="396"/>
                  </a:lnTo>
                  <a:lnTo>
                    <a:pt x="169" y="388"/>
                  </a:lnTo>
                  <a:lnTo>
                    <a:pt x="173" y="379"/>
                  </a:lnTo>
                  <a:lnTo>
                    <a:pt x="173" y="379"/>
                  </a:lnTo>
                  <a:lnTo>
                    <a:pt x="174" y="376"/>
                  </a:lnTo>
                  <a:lnTo>
                    <a:pt x="174" y="376"/>
                  </a:lnTo>
                  <a:lnTo>
                    <a:pt x="178" y="375"/>
                  </a:lnTo>
                  <a:lnTo>
                    <a:pt x="178" y="375"/>
                  </a:lnTo>
                  <a:lnTo>
                    <a:pt x="193" y="369"/>
                  </a:lnTo>
                  <a:lnTo>
                    <a:pt x="206" y="364"/>
                  </a:lnTo>
                  <a:lnTo>
                    <a:pt x="206" y="364"/>
                  </a:lnTo>
                  <a:lnTo>
                    <a:pt x="211" y="369"/>
                  </a:lnTo>
                  <a:lnTo>
                    <a:pt x="218" y="375"/>
                  </a:lnTo>
                  <a:lnTo>
                    <a:pt x="226" y="377"/>
                  </a:lnTo>
                  <a:lnTo>
                    <a:pt x="235" y="379"/>
                  </a:lnTo>
                  <a:lnTo>
                    <a:pt x="235" y="379"/>
                  </a:lnTo>
                  <a:lnTo>
                    <a:pt x="241" y="377"/>
                  </a:lnTo>
                  <a:lnTo>
                    <a:pt x="249" y="375"/>
                  </a:lnTo>
                  <a:lnTo>
                    <a:pt x="256" y="371"/>
                  </a:lnTo>
                  <a:lnTo>
                    <a:pt x="263" y="364"/>
                  </a:lnTo>
                  <a:lnTo>
                    <a:pt x="270" y="354"/>
                  </a:lnTo>
                  <a:lnTo>
                    <a:pt x="270" y="354"/>
                  </a:lnTo>
                  <a:lnTo>
                    <a:pt x="273" y="351"/>
                  </a:lnTo>
                  <a:lnTo>
                    <a:pt x="273" y="351"/>
                  </a:lnTo>
                  <a:lnTo>
                    <a:pt x="280" y="351"/>
                  </a:lnTo>
                  <a:lnTo>
                    <a:pt x="280" y="351"/>
                  </a:lnTo>
                  <a:lnTo>
                    <a:pt x="284" y="351"/>
                  </a:lnTo>
                  <a:lnTo>
                    <a:pt x="284" y="351"/>
                  </a:lnTo>
                  <a:lnTo>
                    <a:pt x="302" y="350"/>
                  </a:lnTo>
                  <a:lnTo>
                    <a:pt x="321" y="347"/>
                  </a:lnTo>
                  <a:lnTo>
                    <a:pt x="321" y="347"/>
                  </a:lnTo>
                  <a:lnTo>
                    <a:pt x="323" y="350"/>
                  </a:lnTo>
                  <a:lnTo>
                    <a:pt x="334" y="359"/>
                  </a:lnTo>
                  <a:lnTo>
                    <a:pt x="334" y="359"/>
                  </a:lnTo>
                  <a:lnTo>
                    <a:pt x="339" y="363"/>
                  </a:lnTo>
                  <a:lnTo>
                    <a:pt x="344" y="365"/>
                  </a:lnTo>
                  <a:lnTo>
                    <a:pt x="351" y="368"/>
                  </a:lnTo>
                  <a:lnTo>
                    <a:pt x="357" y="368"/>
                  </a:lnTo>
                  <a:lnTo>
                    <a:pt x="357" y="368"/>
                  </a:lnTo>
                  <a:lnTo>
                    <a:pt x="364" y="367"/>
                  </a:lnTo>
                  <a:lnTo>
                    <a:pt x="372" y="365"/>
                  </a:lnTo>
                  <a:lnTo>
                    <a:pt x="377" y="361"/>
                  </a:lnTo>
                  <a:lnTo>
                    <a:pt x="384" y="356"/>
                  </a:lnTo>
                  <a:lnTo>
                    <a:pt x="388" y="351"/>
                  </a:lnTo>
                  <a:lnTo>
                    <a:pt x="390" y="344"/>
                  </a:lnTo>
                  <a:lnTo>
                    <a:pt x="393" y="336"/>
                  </a:lnTo>
                  <a:lnTo>
                    <a:pt x="393" y="329"/>
                  </a:lnTo>
                  <a:lnTo>
                    <a:pt x="390" y="314"/>
                  </a:lnTo>
                  <a:lnTo>
                    <a:pt x="390" y="314"/>
                  </a:lnTo>
                  <a:lnTo>
                    <a:pt x="390" y="310"/>
                  </a:lnTo>
                  <a:lnTo>
                    <a:pt x="390" y="310"/>
                  </a:lnTo>
                  <a:lnTo>
                    <a:pt x="398" y="302"/>
                  </a:lnTo>
                  <a:lnTo>
                    <a:pt x="406" y="293"/>
                  </a:lnTo>
                  <a:lnTo>
                    <a:pt x="414" y="284"/>
                  </a:lnTo>
                  <a:lnTo>
                    <a:pt x="421" y="274"/>
                  </a:lnTo>
                  <a:lnTo>
                    <a:pt x="421" y="274"/>
                  </a:lnTo>
                  <a:lnTo>
                    <a:pt x="425" y="274"/>
                  </a:lnTo>
                  <a:lnTo>
                    <a:pt x="438" y="273"/>
                  </a:lnTo>
                  <a:lnTo>
                    <a:pt x="438" y="273"/>
                  </a:lnTo>
                  <a:lnTo>
                    <a:pt x="444" y="273"/>
                  </a:lnTo>
                  <a:lnTo>
                    <a:pt x="450" y="272"/>
                  </a:lnTo>
                  <a:lnTo>
                    <a:pt x="455" y="269"/>
                  </a:lnTo>
                  <a:lnTo>
                    <a:pt x="459" y="267"/>
                  </a:lnTo>
                  <a:lnTo>
                    <a:pt x="463" y="263"/>
                  </a:lnTo>
                  <a:lnTo>
                    <a:pt x="467" y="259"/>
                  </a:lnTo>
                  <a:lnTo>
                    <a:pt x="471" y="249"/>
                  </a:lnTo>
                  <a:lnTo>
                    <a:pt x="472" y="239"/>
                  </a:lnTo>
                  <a:lnTo>
                    <a:pt x="472" y="234"/>
                  </a:lnTo>
                  <a:lnTo>
                    <a:pt x="471" y="228"/>
                  </a:lnTo>
                  <a:lnTo>
                    <a:pt x="469" y="223"/>
                  </a:lnTo>
                  <a:lnTo>
                    <a:pt x="467" y="218"/>
                  </a:lnTo>
                  <a:lnTo>
                    <a:pt x="463" y="214"/>
                  </a:lnTo>
                  <a:lnTo>
                    <a:pt x="459" y="210"/>
                  </a:lnTo>
                  <a:lnTo>
                    <a:pt x="459" y="210"/>
                  </a:lnTo>
                  <a:close/>
                  <a:moveTo>
                    <a:pt x="178" y="338"/>
                  </a:moveTo>
                  <a:lnTo>
                    <a:pt x="178" y="338"/>
                  </a:lnTo>
                  <a:lnTo>
                    <a:pt x="170" y="340"/>
                  </a:lnTo>
                  <a:lnTo>
                    <a:pt x="161" y="342"/>
                  </a:lnTo>
                  <a:lnTo>
                    <a:pt x="153" y="343"/>
                  </a:lnTo>
                  <a:lnTo>
                    <a:pt x="145" y="343"/>
                  </a:lnTo>
                  <a:lnTo>
                    <a:pt x="136" y="342"/>
                  </a:lnTo>
                  <a:lnTo>
                    <a:pt x="128" y="340"/>
                  </a:lnTo>
                  <a:lnTo>
                    <a:pt x="112" y="335"/>
                  </a:lnTo>
                  <a:lnTo>
                    <a:pt x="99" y="327"/>
                  </a:lnTo>
                  <a:lnTo>
                    <a:pt x="92" y="322"/>
                  </a:lnTo>
                  <a:lnTo>
                    <a:pt x="86" y="317"/>
                  </a:lnTo>
                  <a:lnTo>
                    <a:pt x="81" y="310"/>
                  </a:lnTo>
                  <a:lnTo>
                    <a:pt x="75" y="303"/>
                  </a:lnTo>
                  <a:lnTo>
                    <a:pt x="71" y="296"/>
                  </a:lnTo>
                  <a:lnTo>
                    <a:pt x="67" y="288"/>
                  </a:lnTo>
                  <a:lnTo>
                    <a:pt x="67" y="288"/>
                  </a:lnTo>
                  <a:lnTo>
                    <a:pt x="65" y="280"/>
                  </a:lnTo>
                  <a:lnTo>
                    <a:pt x="63" y="272"/>
                  </a:lnTo>
                  <a:lnTo>
                    <a:pt x="62" y="263"/>
                  </a:lnTo>
                  <a:lnTo>
                    <a:pt x="62" y="255"/>
                  </a:lnTo>
                  <a:lnTo>
                    <a:pt x="62" y="247"/>
                  </a:lnTo>
                  <a:lnTo>
                    <a:pt x="65" y="238"/>
                  </a:lnTo>
                  <a:lnTo>
                    <a:pt x="69" y="223"/>
                  </a:lnTo>
                  <a:lnTo>
                    <a:pt x="78" y="209"/>
                  </a:lnTo>
                  <a:lnTo>
                    <a:pt x="82" y="202"/>
                  </a:lnTo>
                  <a:lnTo>
                    <a:pt x="89" y="195"/>
                  </a:lnTo>
                  <a:lnTo>
                    <a:pt x="94" y="190"/>
                  </a:lnTo>
                  <a:lnTo>
                    <a:pt x="102" y="185"/>
                  </a:lnTo>
                  <a:lnTo>
                    <a:pt x="108" y="181"/>
                  </a:lnTo>
                  <a:lnTo>
                    <a:pt x="116" y="177"/>
                  </a:lnTo>
                  <a:lnTo>
                    <a:pt x="116" y="177"/>
                  </a:lnTo>
                  <a:lnTo>
                    <a:pt x="119" y="177"/>
                  </a:lnTo>
                  <a:lnTo>
                    <a:pt x="119" y="177"/>
                  </a:lnTo>
                  <a:lnTo>
                    <a:pt x="121" y="180"/>
                  </a:lnTo>
                  <a:lnTo>
                    <a:pt x="121" y="180"/>
                  </a:lnTo>
                  <a:lnTo>
                    <a:pt x="121" y="185"/>
                  </a:lnTo>
                  <a:lnTo>
                    <a:pt x="121" y="185"/>
                  </a:lnTo>
                  <a:lnTo>
                    <a:pt x="123" y="206"/>
                  </a:lnTo>
                  <a:lnTo>
                    <a:pt x="125" y="226"/>
                  </a:lnTo>
                  <a:lnTo>
                    <a:pt x="125" y="226"/>
                  </a:lnTo>
                  <a:lnTo>
                    <a:pt x="123" y="230"/>
                  </a:lnTo>
                  <a:lnTo>
                    <a:pt x="114" y="239"/>
                  </a:lnTo>
                  <a:lnTo>
                    <a:pt x="114" y="239"/>
                  </a:lnTo>
                  <a:lnTo>
                    <a:pt x="110" y="244"/>
                  </a:lnTo>
                  <a:lnTo>
                    <a:pt x="107" y="248"/>
                  </a:lnTo>
                  <a:lnTo>
                    <a:pt x="106" y="253"/>
                  </a:lnTo>
                  <a:lnTo>
                    <a:pt x="104" y="259"/>
                  </a:lnTo>
                  <a:lnTo>
                    <a:pt x="104" y="268"/>
                  </a:lnTo>
                  <a:lnTo>
                    <a:pt x="107" y="277"/>
                  </a:lnTo>
                  <a:lnTo>
                    <a:pt x="112" y="286"/>
                  </a:lnTo>
                  <a:lnTo>
                    <a:pt x="120" y="293"/>
                  </a:lnTo>
                  <a:lnTo>
                    <a:pt x="128" y="297"/>
                  </a:lnTo>
                  <a:lnTo>
                    <a:pt x="133" y="298"/>
                  </a:lnTo>
                  <a:lnTo>
                    <a:pt x="139" y="298"/>
                  </a:lnTo>
                  <a:lnTo>
                    <a:pt x="139" y="298"/>
                  </a:lnTo>
                  <a:lnTo>
                    <a:pt x="144" y="298"/>
                  </a:lnTo>
                  <a:lnTo>
                    <a:pt x="158" y="297"/>
                  </a:lnTo>
                  <a:lnTo>
                    <a:pt x="158" y="297"/>
                  </a:lnTo>
                  <a:lnTo>
                    <a:pt x="162" y="297"/>
                  </a:lnTo>
                  <a:lnTo>
                    <a:pt x="162" y="297"/>
                  </a:lnTo>
                  <a:lnTo>
                    <a:pt x="170" y="305"/>
                  </a:lnTo>
                  <a:lnTo>
                    <a:pt x="178" y="313"/>
                  </a:lnTo>
                  <a:lnTo>
                    <a:pt x="187" y="319"/>
                  </a:lnTo>
                  <a:lnTo>
                    <a:pt x="198" y="326"/>
                  </a:lnTo>
                  <a:lnTo>
                    <a:pt x="198" y="326"/>
                  </a:lnTo>
                  <a:lnTo>
                    <a:pt x="189" y="332"/>
                  </a:lnTo>
                  <a:lnTo>
                    <a:pt x="178" y="338"/>
                  </a:lnTo>
                  <a:lnTo>
                    <a:pt x="178" y="338"/>
                  </a:lnTo>
                  <a:close/>
                  <a:moveTo>
                    <a:pt x="460" y="245"/>
                  </a:moveTo>
                  <a:lnTo>
                    <a:pt x="460" y="245"/>
                  </a:lnTo>
                  <a:lnTo>
                    <a:pt x="458" y="251"/>
                  </a:lnTo>
                  <a:lnTo>
                    <a:pt x="452" y="256"/>
                  </a:lnTo>
                  <a:lnTo>
                    <a:pt x="446" y="260"/>
                  </a:lnTo>
                  <a:lnTo>
                    <a:pt x="438" y="261"/>
                  </a:lnTo>
                  <a:lnTo>
                    <a:pt x="423" y="263"/>
                  </a:lnTo>
                  <a:lnTo>
                    <a:pt x="423" y="263"/>
                  </a:lnTo>
                  <a:lnTo>
                    <a:pt x="418" y="263"/>
                  </a:lnTo>
                  <a:lnTo>
                    <a:pt x="413" y="264"/>
                  </a:lnTo>
                  <a:lnTo>
                    <a:pt x="410" y="268"/>
                  </a:lnTo>
                  <a:lnTo>
                    <a:pt x="410" y="268"/>
                  </a:lnTo>
                  <a:lnTo>
                    <a:pt x="398" y="286"/>
                  </a:lnTo>
                  <a:lnTo>
                    <a:pt x="382" y="301"/>
                  </a:lnTo>
                  <a:lnTo>
                    <a:pt x="379" y="305"/>
                  </a:lnTo>
                  <a:lnTo>
                    <a:pt x="379" y="310"/>
                  </a:lnTo>
                  <a:lnTo>
                    <a:pt x="379" y="310"/>
                  </a:lnTo>
                  <a:lnTo>
                    <a:pt x="379" y="315"/>
                  </a:lnTo>
                  <a:lnTo>
                    <a:pt x="381" y="330"/>
                  </a:lnTo>
                  <a:lnTo>
                    <a:pt x="381" y="330"/>
                  </a:lnTo>
                  <a:lnTo>
                    <a:pt x="381" y="335"/>
                  </a:lnTo>
                  <a:lnTo>
                    <a:pt x="380" y="340"/>
                  </a:lnTo>
                  <a:lnTo>
                    <a:pt x="377" y="344"/>
                  </a:lnTo>
                  <a:lnTo>
                    <a:pt x="376" y="348"/>
                  </a:lnTo>
                  <a:lnTo>
                    <a:pt x="376" y="348"/>
                  </a:lnTo>
                  <a:lnTo>
                    <a:pt x="372" y="352"/>
                  </a:lnTo>
                  <a:lnTo>
                    <a:pt x="367" y="355"/>
                  </a:lnTo>
                  <a:lnTo>
                    <a:pt x="363" y="356"/>
                  </a:lnTo>
                  <a:lnTo>
                    <a:pt x="357" y="356"/>
                  </a:lnTo>
                  <a:lnTo>
                    <a:pt x="357" y="356"/>
                  </a:lnTo>
                  <a:lnTo>
                    <a:pt x="352" y="356"/>
                  </a:lnTo>
                  <a:lnTo>
                    <a:pt x="348" y="355"/>
                  </a:lnTo>
                  <a:lnTo>
                    <a:pt x="344" y="352"/>
                  </a:lnTo>
                  <a:lnTo>
                    <a:pt x="342" y="350"/>
                  </a:lnTo>
                  <a:lnTo>
                    <a:pt x="331" y="340"/>
                  </a:lnTo>
                  <a:lnTo>
                    <a:pt x="331" y="340"/>
                  </a:lnTo>
                  <a:lnTo>
                    <a:pt x="327" y="338"/>
                  </a:lnTo>
                  <a:lnTo>
                    <a:pt x="323" y="334"/>
                  </a:lnTo>
                  <a:lnTo>
                    <a:pt x="318" y="335"/>
                  </a:lnTo>
                  <a:lnTo>
                    <a:pt x="318" y="335"/>
                  </a:lnTo>
                  <a:lnTo>
                    <a:pt x="301" y="338"/>
                  </a:lnTo>
                  <a:lnTo>
                    <a:pt x="284" y="339"/>
                  </a:lnTo>
                  <a:lnTo>
                    <a:pt x="284" y="339"/>
                  </a:lnTo>
                  <a:lnTo>
                    <a:pt x="280" y="339"/>
                  </a:lnTo>
                  <a:lnTo>
                    <a:pt x="280" y="339"/>
                  </a:lnTo>
                  <a:lnTo>
                    <a:pt x="274" y="339"/>
                  </a:lnTo>
                  <a:lnTo>
                    <a:pt x="269" y="339"/>
                  </a:lnTo>
                  <a:lnTo>
                    <a:pt x="265" y="343"/>
                  </a:lnTo>
                  <a:lnTo>
                    <a:pt x="265" y="343"/>
                  </a:lnTo>
                  <a:lnTo>
                    <a:pt x="261" y="347"/>
                  </a:lnTo>
                  <a:lnTo>
                    <a:pt x="253" y="358"/>
                  </a:lnTo>
                  <a:lnTo>
                    <a:pt x="253" y="358"/>
                  </a:lnTo>
                  <a:lnTo>
                    <a:pt x="249" y="361"/>
                  </a:lnTo>
                  <a:lnTo>
                    <a:pt x="244" y="364"/>
                  </a:lnTo>
                  <a:lnTo>
                    <a:pt x="240" y="367"/>
                  </a:lnTo>
                  <a:lnTo>
                    <a:pt x="235" y="367"/>
                  </a:lnTo>
                  <a:lnTo>
                    <a:pt x="235" y="367"/>
                  </a:lnTo>
                  <a:lnTo>
                    <a:pt x="226" y="365"/>
                  </a:lnTo>
                  <a:lnTo>
                    <a:pt x="222" y="364"/>
                  </a:lnTo>
                  <a:lnTo>
                    <a:pt x="218" y="361"/>
                  </a:lnTo>
                  <a:lnTo>
                    <a:pt x="215" y="358"/>
                  </a:lnTo>
                  <a:lnTo>
                    <a:pt x="212" y="354"/>
                  </a:lnTo>
                  <a:lnTo>
                    <a:pt x="211" y="350"/>
                  </a:lnTo>
                  <a:lnTo>
                    <a:pt x="210" y="344"/>
                  </a:lnTo>
                  <a:lnTo>
                    <a:pt x="210" y="330"/>
                  </a:lnTo>
                  <a:lnTo>
                    <a:pt x="210" y="330"/>
                  </a:lnTo>
                  <a:lnTo>
                    <a:pt x="210" y="325"/>
                  </a:lnTo>
                  <a:lnTo>
                    <a:pt x="208" y="319"/>
                  </a:lnTo>
                  <a:lnTo>
                    <a:pt x="205" y="317"/>
                  </a:lnTo>
                  <a:lnTo>
                    <a:pt x="205" y="317"/>
                  </a:lnTo>
                  <a:lnTo>
                    <a:pt x="186" y="303"/>
                  </a:lnTo>
                  <a:lnTo>
                    <a:pt x="170" y="289"/>
                  </a:lnTo>
                  <a:lnTo>
                    <a:pt x="168" y="285"/>
                  </a:lnTo>
                  <a:lnTo>
                    <a:pt x="162" y="285"/>
                  </a:lnTo>
                  <a:lnTo>
                    <a:pt x="162" y="285"/>
                  </a:lnTo>
                  <a:lnTo>
                    <a:pt x="157" y="285"/>
                  </a:lnTo>
                  <a:lnTo>
                    <a:pt x="143" y="286"/>
                  </a:lnTo>
                  <a:lnTo>
                    <a:pt x="143" y="286"/>
                  </a:lnTo>
                  <a:lnTo>
                    <a:pt x="139" y="288"/>
                  </a:lnTo>
                  <a:lnTo>
                    <a:pt x="139" y="288"/>
                  </a:lnTo>
                  <a:lnTo>
                    <a:pt x="132" y="286"/>
                  </a:lnTo>
                  <a:lnTo>
                    <a:pt x="125" y="282"/>
                  </a:lnTo>
                  <a:lnTo>
                    <a:pt x="120" y="278"/>
                  </a:lnTo>
                  <a:lnTo>
                    <a:pt x="118" y="273"/>
                  </a:lnTo>
                  <a:lnTo>
                    <a:pt x="118" y="273"/>
                  </a:lnTo>
                  <a:lnTo>
                    <a:pt x="116" y="267"/>
                  </a:lnTo>
                  <a:lnTo>
                    <a:pt x="116" y="259"/>
                  </a:lnTo>
                  <a:lnTo>
                    <a:pt x="118" y="253"/>
                  </a:lnTo>
                  <a:lnTo>
                    <a:pt x="123" y="247"/>
                  </a:lnTo>
                  <a:lnTo>
                    <a:pt x="132" y="238"/>
                  </a:lnTo>
                  <a:lnTo>
                    <a:pt x="132" y="238"/>
                  </a:lnTo>
                  <a:lnTo>
                    <a:pt x="135" y="234"/>
                  </a:lnTo>
                  <a:lnTo>
                    <a:pt x="139" y="228"/>
                  </a:lnTo>
                  <a:lnTo>
                    <a:pt x="137" y="223"/>
                  </a:lnTo>
                  <a:lnTo>
                    <a:pt x="137" y="223"/>
                  </a:lnTo>
                  <a:lnTo>
                    <a:pt x="133" y="205"/>
                  </a:lnTo>
                  <a:lnTo>
                    <a:pt x="133" y="185"/>
                  </a:lnTo>
                  <a:lnTo>
                    <a:pt x="133" y="185"/>
                  </a:lnTo>
                  <a:lnTo>
                    <a:pt x="133" y="180"/>
                  </a:lnTo>
                  <a:lnTo>
                    <a:pt x="133" y="174"/>
                  </a:lnTo>
                  <a:lnTo>
                    <a:pt x="129" y="170"/>
                  </a:lnTo>
                  <a:lnTo>
                    <a:pt x="129" y="170"/>
                  </a:lnTo>
                  <a:lnTo>
                    <a:pt x="125" y="168"/>
                  </a:lnTo>
                  <a:lnTo>
                    <a:pt x="115" y="158"/>
                  </a:lnTo>
                  <a:lnTo>
                    <a:pt x="115" y="158"/>
                  </a:lnTo>
                  <a:lnTo>
                    <a:pt x="108" y="153"/>
                  </a:lnTo>
                  <a:lnTo>
                    <a:pt x="106" y="147"/>
                  </a:lnTo>
                  <a:lnTo>
                    <a:pt x="106" y="139"/>
                  </a:lnTo>
                  <a:lnTo>
                    <a:pt x="107" y="133"/>
                  </a:lnTo>
                  <a:lnTo>
                    <a:pt x="107" y="133"/>
                  </a:lnTo>
                  <a:lnTo>
                    <a:pt x="110" y="127"/>
                  </a:lnTo>
                  <a:lnTo>
                    <a:pt x="114" y="122"/>
                  </a:lnTo>
                  <a:lnTo>
                    <a:pt x="120" y="118"/>
                  </a:lnTo>
                  <a:lnTo>
                    <a:pt x="128" y="116"/>
                  </a:lnTo>
                  <a:lnTo>
                    <a:pt x="143" y="116"/>
                  </a:lnTo>
                  <a:lnTo>
                    <a:pt x="143" y="116"/>
                  </a:lnTo>
                  <a:lnTo>
                    <a:pt x="148" y="115"/>
                  </a:lnTo>
                  <a:lnTo>
                    <a:pt x="153" y="115"/>
                  </a:lnTo>
                  <a:lnTo>
                    <a:pt x="156" y="110"/>
                  </a:lnTo>
                  <a:lnTo>
                    <a:pt x="156" y="110"/>
                  </a:lnTo>
                  <a:lnTo>
                    <a:pt x="162" y="100"/>
                  </a:lnTo>
                  <a:lnTo>
                    <a:pt x="169" y="93"/>
                  </a:lnTo>
                  <a:lnTo>
                    <a:pt x="176" y="85"/>
                  </a:lnTo>
                  <a:lnTo>
                    <a:pt x="183" y="77"/>
                  </a:lnTo>
                  <a:lnTo>
                    <a:pt x="187" y="73"/>
                  </a:lnTo>
                  <a:lnTo>
                    <a:pt x="187" y="67"/>
                  </a:lnTo>
                  <a:lnTo>
                    <a:pt x="187" y="67"/>
                  </a:lnTo>
                  <a:lnTo>
                    <a:pt x="187" y="62"/>
                  </a:lnTo>
                  <a:lnTo>
                    <a:pt x="185" y="49"/>
                  </a:lnTo>
                  <a:lnTo>
                    <a:pt x="185" y="49"/>
                  </a:lnTo>
                  <a:lnTo>
                    <a:pt x="185" y="42"/>
                  </a:lnTo>
                  <a:lnTo>
                    <a:pt x="186" y="37"/>
                  </a:lnTo>
                  <a:lnTo>
                    <a:pt x="189" y="33"/>
                  </a:lnTo>
                  <a:lnTo>
                    <a:pt x="190" y="31"/>
                  </a:lnTo>
                  <a:lnTo>
                    <a:pt x="190" y="31"/>
                  </a:lnTo>
                  <a:lnTo>
                    <a:pt x="194" y="27"/>
                  </a:lnTo>
                  <a:lnTo>
                    <a:pt x="199" y="24"/>
                  </a:lnTo>
                  <a:lnTo>
                    <a:pt x="205" y="23"/>
                  </a:lnTo>
                  <a:lnTo>
                    <a:pt x="208" y="21"/>
                  </a:lnTo>
                  <a:lnTo>
                    <a:pt x="208" y="21"/>
                  </a:lnTo>
                  <a:lnTo>
                    <a:pt x="214" y="23"/>
                  </a:lnTo>
                  <a:lnTo>
                    <a:pt x="218" y="24"/>
                  </a:lnTo>
                  <a:lnTo>
                    <a:pt x="222" y="25"/>
                  </a:lnTo>
                  <a:lnTo>
                    <a:pt x="226" y="28"/>
                  </a:lnTo>
                  <a:lnTo>
                    <a:pt x="235" y="37"/>
                  </a:lnTo>
                  <a:lnTo>
                    <a:pt x="235" y="37"/>
                  </a:lnTo>
                  <a:lnTo>
                    <a:pt x="239" y="41"/>
                  </a:lnTo>
                  <a:lnTo>
                    <a:pt x="244" y="44"/>
                  </a:lnTo>
                  <a:lnTo>
                    <a:pt x="249" y="42"/>
                  </a:lnTo>
                  <a:lnTo>
                    <a:pt x="249" y="42"/>
                  </a:lnTo>
                  <a:lnTo>
                    <a:pt x="265" y="40"/>
                  </a:lnTo>
                  <a:lnTo>
                    <a:pt x="284" y="38"/>
                  </a:lnTo>
                  <a:lnTo>
                    <a:pt x="284" y="38"/>
                  </a:lnTo>
                  <a:lnTo>
                    <a:pt x="286" y="40"/>
                  </a:lnTo>
                  <a:lnTo>
                    <a:pt x="286" y="40"/>
                  </a:lnTo>
                  <a:lnTo>
                    <a:pt x="293" y="40"/>
                  </a:lnTo>
                  <a:lnTo>
                    <a:pt x="298" y="40"/>
                  </a:lnTo>
                  <a:lnTo>
                    <a:pt x="301" y="36"/>
                  </a:lnTo>
                  <a:lnTo>
                    <a:pt x="301" y="36"/>
                  </a:lnTo>
                  <a:lnTo>
                    <a:pt x="305" y="32"/>
                  </a:lnTo>
                  <a:lnTo>
                    <a:pt x="313" y="21"/>
                  </a:lnTo>
                  <a:lnTo>
                    <a:pt x="313" y="21"/>
                  </a:lnTo>
                  <a:lnTo>
                    <a:pt x="317" y="16"/>
                  </a:lnTo>
                  <a:lnTo>
                    <a:pt x="322" y="13"/>
                  </a:lnTo>
                  <a:lnTo>
                    <a:pt x="326" y="12"/>
                  </a:lnTo>
                  <a:lnTo>
                    <a:pt x="332" y="11"/>
                  </a:lnTo>
                  <a:lnTo>
                    <a:pt x="332" y="11"/>
                  </a:lnTo>
                  <a:lnTo>
                    <a:pt x="340" y="13"/>
                  </a:lnTo>
                  <a:lnTo>
                    <a:pt x="344" y="15"/>
                  </a:lnTo>
                  <a:lnTo>
                    <a:pt x="348" y="17"/>
                  </a:lnTo>
                  <a:lnTo>
                    <a:pt x="351" y="20"/>
                  </a:lnTo>
                  <a:lnTo>
                    <a:pt x="353" y="24"/>
                  </a:lnTo>
                  <a:lnTo>
                    <a:pt x="355" y="29"/>
                  </a:lnTo>
                  <a:lnTo>
                    <a:pt x="356" y="35"/>
                  </a:lnTo>
                  <a:lnTo>
                    <a:pt x="356" y="48"/>
                  </a:lnTo>
                  <a:lnTo>
                    <a:pt x="356" y="48"/>
                  </a:lnTo>
                  <a:lnTo>
                    <a:pt x="356" y="53"/>
                  </a:lnTo>
                  <a:lnTo>
                    <a:pt x="357" y="58"/>
                  </a:lnTo>
                  <a:lnTo>
                    <a:pt x="363" y="62"/>
                  </a:lnTo>
                  <a:lnTo>
                    <a:pt x="363" y="62"/>
                  </a:lnTo>
                  <a:lnTo>
                    <a:pt x="371" y="67"/>
                  </a:lnTo>
                  <a:lnTo>
                    <a:pt x="380" y="74"/>
                  </a:lnTo>
                  <a:lnTo>
                    <a:pt x="396" y="90"/>
                  </a:lnTo>
                  <a:lnTo>
                    <a:pt x="398" y="94"/>
                  </a:lnTo>
                  <a:lnTo>
                    <a:pt x="405" y="94"/>
                  </a:lnTo>
                  <a:lnTo>
                    <a:pt x="405" y="94"/>
                  </a:lnTo>
                  <a:lnTo>
                    <a:pt x="410" y="94"/>
                  </a:lnTo>
                  <a:lnTo>
                    <a:pt x="423" y="91"/>
                  </a:lnTo>
                  <a:lnTo>
                    <a:pt x="423" y="91"/>
                  </a:lnTo>
                  <a:lnTo>
                    <a:pt x="427" y="91"/>
                  </a:lnTo>
                  <a:lnTo>
                    <a:pt x="427" y="91"/>
                  </a:lnTo>
                  <a:lnTo>
                    <a:pt x="435" y="93"/>
                  </a:lnTo>
                  <a:lnTo>
                    <a:pt x="440" y="95"/>
                  </a:lnTo>
                  <a:lnTo>
                    <a:pt x="446" y="100"/>
                  </a:lnTo>
                  <a:lnTo>
                    <a:pt x="448" y="106"/>
                  </a:lnTo>
                  <a:lnTo>
                    <a:pt x="448" y="106"/>
                  </a:lnTo>
                  <a:lnTo>
                    <a:pt x="450" y="112"/>
                  </a:lnTo>
                  <a:lnTo>
                    <a:pt x="450" y="119"/>
                  </a:lnTo>
                  <a:lnTo>
                    <a:pt x="448" y="125"/>
                  </a:lnTo>
                  <a:lnTo>
                    <a:pt x="444" y="131"/>
                  </a:lnTo>
                  <a:lnTo>
                    <a:pt x="434" y="141"/>
                  </a:lnTo>
                  <a:lnTo>
                    <a:pt x="434" y="141"/>
                  </a:lnTo>
                  <a:lnTo>
                    <a:pt x="431" y="145"/>
                  </a:lnTo>
                  <a:lnTo>
                    <a:pt x="427" y="149"/>
                  </a:lnTo>
                  <a:lnTo>
                    <a:pt x="429" y="154"/>
                  </a:lnTo>
                  <a:lnTo>
                    <a:pt x="429" y="154"/>
                  </a:lnTo>
                  <a:lnTo>
                    <a:pt x="433" y="174"/>
                  </a:lnTo>
                  <a:lnTo>
                    <a:pt x="433" y="193"/>
                  </a:lnTo>
                  <a:lnTo>
                    <a:pt x="433" y="193"/>
                  </a:lnTo>
                  <a:lnTo>
                    <a:pt x="433" y="198"/>
                  </a:lnTo>
                  <a:lnTo>
                    <a:pt x="433" y="203"/>
                  </a:lnTo>
                  <a:lnTo>
                    <a:pt x="437" y="207"/>
                  </a:lnTo>
                  <a:lnTo>
                    <a:pt x="437" y="207"/>
                  </a:lnTo>
                  <a:lnTo>
                    <a:pt x="440" y="211"/>
                  </a:lnTo>
                  <a:lnTo>
                    <a:pt x="451" y="219"/>
                  </a:lnTo>
                  <a:lnTo>
                    <a:pt x="451" y="219"/>
                  </a:lnTo>
                  <a:lnTo>
                    <a:pt x="458" y="226"/>
                  </a:lnTo>
                  <a:lnTo>
                    <a:pt x="460" y="232"/>
                  </a:lnTo>
                  <a:lnTo>
                    <a:pt x="460" y="239"/>
                  </a:lnTo>
                  <a:lnTo>
                    <a:pt x="460" y="245"/>
                  </a:lnTo>
                  <a:lnTo>
                    <a:pt x="460"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grpSp>
      <p:grpSp>
        <p:nvGrpSpPr>
          <p:cNvPr id="44" name="Группа 43"/>
          <p:cNvGrpSpPr/>
          <p:nvPr/>
        </p:nvGrpSpPr>
        <p:grpSpPr>
          <a:xfrm>
            <a:off x="6696886" y="2868271"/>
            <a:ext cx="549424" cy="352278"/>
            <a:chOff x="4919663" y="2898775"/>
            <a:chExt cx="809625" cy="519113"/>
          </a:xfrm>
          <a:solidFill>
            <a:schemeClr val="bg2"/>
          </a:solidFill>
        </p:grpSpPr>
        <p:sp>
          <p:nvSpPr>
            <p:cNvPr id="45" name="Freeform 10"/>
            <p:cNvSpPr>
              <a:spLocks noEditPoints="1"/>
            </p:cNvSpPr>
            <p:nvPr/>
          </p:nvSpPr>
          <p:spPr bwMode="auto">
            <a:xfrm>
              <a:off x="5113338" y="3195638"/>
              <a:ext cx="411163" cy="222250"/>
            </a:xfrm>
            <a:custGeom>
              <a:avLst/>
              <a:gdLst>
                <a:gd name="T0" fmla="*/ 259 w 259"/>
                <a:gd name="T1" fmla="*/ 15 h 140"/>
                <a:gd name="T2" fmla="*/ 259 w 259"/>
                <a:gd name="T3" fmla="*/ 13 h 140"/>
                <a:gd name="T4" fmla="*/ 259 w 259"/>
                <a:gd name="T5" fmla="*/ 0 h 140"/>
                <a:gd name="T6" fmla="*/ 0 w 259"/>
                <a:gd name="T7" fmla="*/ 0 h 140"/>
                <a:gd name="T8" fmla="*/ 0 w 259"/>
                <a:gd name="T9" fmla="*/ 13 h 140"/>
                <a:gd name="T10" fmla="*/ 0 w 259"/>
                <a:gd name="T11" fmla="*/ 15 h 140"/>
                <a:gd name="T12" fmla="*/ 0 w 259"/>
                <a:gd name="T13" fmla="*/ 83 h 140"/>
                <a:gd name="T14" fmla="*/ 0 w 259"/>
                <a:gd name="T15" fmla="*/ 83 h 140"/>
                <a:gd name="T16" fmla="*/ 0 w 259"/>
                <a:gd name="T17" fmla="*/ 90 h 140"/>
                <a:gd name="T18" fmla="*/ 5 w 259"/>
                <a:gd name="T19" fmla="*/ 100 h 140"/>
                <a:gd name="T20" fmla="*/ 15 w 259"/>
                <a:gd name="T21" fmla="*/ 110 h 140"/>
                <a:gd name="T22" fmla="*/ 38 w 259"/>
                <a:gd name="T23" fmla="*/ 123 h 140"/>
                <a:gd name="T24" fmla="*/ 79 w 259"/>
                <a:gd name="T25" fmla="*/ 135 h 140"/>
                <a:gd name="T26" fmla="*/ 129 w 259"/>
                <a:gd name="T27" fmla="*/ 140 h 140"/>
                <a:gd name="T28" fmla="*/ 155 w 259"/>
                <a:gd name="T29" fmla="*/ 139 h 140"/>
                <a:gd name="T30" fmla="*/ 201 w 259"/>
                <a:gd name="T31" fmla="*/ 129 h 140"/>
                <a:gd name="T32" fmla="*/ 237 w 259"/>
                <a:gd name="T33" fmla="*/ 115 h 140"/>
                <a:gd name="T34" fmla="*/ 249 w 259"/>
                <a:gd name="T35" fmla="*/ 106 h 140"/>
                <a:gd name="T36" fmla="*/ 257 w 259"/>
                <a:gd name="T37" fmla="*/ 95 h 140"/>
                <a:gd name="T38" fmla="*/ 259 w 259"/>
                <a:gd name="T39" fmla="*/ 83 h 140"/>
                <a:gd name="T40" fmla="*/ 259 w 259"/>
                <a:gd name="T41" fmla="*/ 83 h 140"/>
                <a:gd name="T42" fmla="*/ 249 w 259"/>
                <a:gd name="T43" fmla="*/ 73 h 140"/>
                <a:gd name="T44" fmla="*/ 249 w 259"/>
                <a:gd name="T45" fmla="*/ 83 h 140"/>
                <a:gd name="T46" fmla="*/ 249 w 259"/>
                <a:gd name="T47" fmla="*/ 85 h 140"/>
                <a:gd name="T48" fmla="*/ 246 w 259"/>
                <a:gd name="T49" fmla="*/ 93 h 140"/>
                <a:gd name="T50" fmla="*/ 239 w 259"/>
                <a:gd name="T51" fmla="*/ 100 h 140"/>
                <a:gd name="T52" fmla="*/ 214 w 259"/>
                <a:gd name="T53" fmla="*/ 115 h 140"/>
                <a:gd name="T54" fmla="*/ 178 w 259"/>
                <a:gd name="T55" fmla="*/ 126 h 140"/>
                <a:gd name="T56" fmla="*/ 129 w 259"/>
                <a:gd name="T57" fmla="*/ 129 h 140"/>
                <a:gd name="T58" fmla="*/ 104 w 259"/>
                <a:gd name="T59" fmla="*/ 128 h 140"/>
                <a:gd name="T60" fmla="*/ 60 w 259"/>
                <a:gd name="T61" fmla="*/ 120 h 140"/>
                <a:gd name="T62" fmla="*/ 30 w 259"/>
                <a:gd name="T63" fmla="*/ 108 h 140"/>
                <a:gd name="T64" fmla="*/ 15 w 259"/>
                <a:gd name="T65" fmla="*/ 97 h 140"/>
                <a:gd name="T66" fmla="*/ 10 w 259"/>
                <a:gd name="T67" fmla="*/ 89 h 140"/>
                <a:gd name="T68" fmla="*/ 9 w 259"/>
                <a:gd name="T69" fmla="*/ 85 h 140"/>
                <a:gd name="T70" fmla="*/ 9 w 259"/>
                <a:gd name="T71" fmla="*/ 73 h 140"/>
                <a:gd name="T72" fmla="*/ 125 w 259"/>
                <a:gd name="T73" fmla="*/ 71 h 140"/>
                <a:gd name="T74" fmla="*/ 133 w 259"/>
                <a:gd name="T75" fmla="*/ 71 h 140"/>
                <a:gd name="T76" fmla="*/ 249 w 259"/>
                <a:gd name="T77" fmla="*/ 7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9" h="140">
                  <a:moveTo>
                    <a:pt x="259" y="83"/>
                  </a:moveTo>
                  <a:lnTo>
                    <a:pt x="259" y="15"/>
                  </a:lnTo>
                  <a:lnTo>
                    <a:pt x="259" y="15"/>
                  </a:lnTo>
                  <a:lnTo>
                    <a:pt x="259" y="13"/>
                  </a:lnTo>
                  <a:lnTo>
                    <a:pt x="259" y="13"/>
                  </a:lnTo>
                  <a:lnTo>
                    <a:pt x="259" y="0"/>
                  </a:lnTo>
                  <a:lnTo>
                    <a:pt x="129" y="62"/>
                  </a:lnTo>
                  <a:lnTo>
                    <a:pt x="0" y="0"/>
                  </a:lnTo>
                  <a:lnTo>
                    <a:pt x="0" y="13"/>
                  </a:lnTo>
                  <a:lnTo>
                    <a:pt x="0" y="13"/>
                  </a:lnTo>
                  <a:lnTo>
                    <a:pt x="0" y="13"/>
                  </a:lnTo>
                  <a:lnTo>
                    <a:pt x="0" y="15"/>
                  </a:lnTo>
                  <a:lnTo>
                    <a:pt x="0" y="83"/>
                  </a:lnTo>
                  <a:lnTo>
                    <a:pt x="0" y="83"/>
                  </a:lnTo>
                  <a:lnTo>
                    <a:pt x="0" y="83"/>
                  </a:lnTo>
                  <a:lnTo>
                    <a:pt x="0" y="83"/>
                  </a:lnTo>
                  <a:lnTo>
                    <a:pt x="0" y="83"/>
                  </a:lnTo>
                  <a:lnTo>
                    <a:pt x="0" y="90"/>
                  </a:lnTo>
                  <a:lnTo>
                    <a:pt x="2" y="95"/>
                  </a:lnTo>
                  <a:lnTo>
                    <a:pt x="5" y="100"/>
                  </a:lnTo>
                  <a:lnTo>
                    <a:pt x="9" y="106"/>
                  </a:lnTo>
                  <a:lnTo>
                    <a:pt x="15" y="110"/>
                  </a:lnTo>
                  <a:lnTo>
                    <a:pt x="22" y="115"/>
                  </a:lnTo>
                  <a:lnTo>
                    <a:pt x="38" y="123"/>
                  </a:lnTo>
                  <a:lnTo>
                    <a:pt x="56" y="129"/>
                  </a:lnTo>
                  <a:lnTo>
                    <a:pt x="79" y="135"/>
                  </a:lnTo>
                  <a:lnTo>
                    <a:pt x="102" y="139"/>
                  </a:lnTo>
                  <a:lnTo>
                    <a:pt x="129" y="140"/>
                  </a:lnTo>
                  <a:lnTo>
                    <a:pt x="129" y="140"/>
                  </a:lnTo>
                  <a:lnTo>
                    <a:pt x="155" y="139"/>
                  </a:lnTo>
                  <a:lnTo>
                    <a:pt x="180" y="135"/>
                  </a:lnTo>
                  <a:lnTo>
                    <a:pt x="201" y="129"/>
                  </a:lnTo>
                  <a:lnTo>
                    <a:pt x="221" y="123"/>
                  </a:lnTo>
                  <a:lnTo>
                    <a:pt x="237" y="115"/>
                  </a:lnTo>
                  <a:lnTo>
                    <a:pt x="243" y="110"/>
                  </a:lnTo>
                  <a:lnTo>
                    <a:pt x="249" y="106"/>
                  </a:lnTo>
                  <a:lnTo>
                    <a:pt x="253" y="100"/>
                  </a:lnTo>
                  <a:lnTo>
                    <a:pt x="257" y="95"/>
                  </a:lnTo>
                  <a:lnTo>
                    <a:pt x="258" y="90"/>
                  </a:lnTo>
                  <a:lnTo>
                    <a:pt x="259" y="83"/>
                  </a:lnTo>
                  <a:lnTo>
                    <a:pt x="259" y="83"/>
                  </a:lnTo>
                  <a:lnTo>
                    <a:pt x="259" y="83"/>
                  </a:lnTo>
                  <a:lnTo>
                    <a:pt x="259" y="83"/>
                  </a:lnTo>
                  <a:close/>
                  <a:moveTo>
                    <a:pt x="249" y="73"/>
                  </a:moveTo>
                  <a:lnTo>
                    <a:pt x="249" y="73"/>
                  </a:lnTo>
                  <a:lnTo>
                    <a:pt x="249" y="83"/>
                  </a:lnTo>
                  <a:lnTo>
                    <a:pt x="249" y="85"/>
                  </a:lnTo>
                  <a:lnTo>
                    <a:pt x="249" y="85"/>
                  </a:lnTo>
                  <a:lnTo>
                    <a:pt x="247" y="89"/>
                  </a:lnTo>
                  <a:lnTo>
                    <a:pt x="246" y="93"/>
                  </a:lnTo>
                  <a:lnTo>
                    <a:pt x="243" y="97"/>
                  </a:lnTo>
                  <a:lnTo>
                    <a:pt x="239" y="100"/>
                  </a:lnTo>
                  <a:lnTo>
                    <a:pt x="229" y="108"/>
                  </a:lnTo>
                  <a:lnTo>
                    <a:pt x="214" y="115"/>
                  </a:lnTo>
                  <a:lnTo>
                    <a:pt x="197" y="120"/>
                  </a:lnTo>
                  <a:lnTo>
                    <a:pt x="178" y="126"/>
                  </a:lnTo>
                  <a:lnTo>
                    <a:pt x="154" y="128"/>
                  </a:lnTo>
                  <a:lnTo>
                    <a:pt x="129" y="129"/>
                  </a:lnTo>
                  <a:lnTo>
                    <a:pt x="129" y="129"/>
                  </a:lnTo>
                  <a:lnTo>
                    <a:pt x="104" y="128"/>
                  </a:lnTo>
                  <a:lnTo>
                    <a:pt x="81" y="126"/>
                  </a:lnTo>
                  <a:lnTo>
                    <a:pt x="60" y="120"/>
                  </a:lnTo>
                  <a:lnTo>
                    <a:pt x="43" y="115"/>
                  </a:lnTo>
                  <a:lnTo>
                    <a:pt x="30" y="108"/>
                  </a:lnTo>
                  <a:lnTo>
                    <a:pt x="19" y="100"/>
                  </a:lnTo>
                  <a:lnTo>
                    <a:pt x="15" y="97"/>
                  </a:lnTo>
                  <a:lnTo>
                    <a:pt x="11" y="93"/>
                  </a:lnTo>
                  <a:lnTo>
                    <a:pt x="10" y="89"/>
                  </a:lnTo>
                  <a:lnTo>
                    <a:pt x="9" y="85"/>
                  </a:lnTo>
                  <a:lnTo>
                    <a:pt x="9" y="85"/>
                  </a:lnTo>
                  <a:lnTo>
                    <a:pt x="9" y="83"/>
                  </a:lnTo>
                  <a:lnTo>
                    <a:pt x="9" y="73"/>
                  </a:lnTo>
                  <a:lnTo>
                    <a:pt x="9" y="17"/>
                  </a:lnTo>
                  <a:lnTo>
                    <a:pt x="125" y="71"/>
                  </a:lnTo>
                  <a:lnTo>
                    <a:pt x="129" y="74"/>
                  </a:lnTo>
                  <a:lnTo>
                    <a:pt x="133" y="71"/>
                  </a:lnTo>
                  <a:lnTo>
                    <a:pt x="249" y="17"/>
                  </a:lnTo>
                  <a:lnTo>
                    <a:pt x="249"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46" name="Freeform 11"/>
            <p:cNvSpPr>
              <a:spLocks/>
            </p:cNvSpPr>
            <p:nvPr/>
          </p:nvSpPr>
          <p:spPr bwMode="auto">
            <a:xfrm>
              <a:off x="4919663" y="2898775"/>
              <a:ext cx="809625" cy="407988"/>
            </a:xfrm>
            <a:custGeom>
              <a:avLst/>
              <a:gdLst>
                <a:gd name="T0" fmla="*/ 501 w 510"/>
                <a:gd name="T1" fmla="*/ 231 h 257"/>
                <a:gd name="T2" fmla="*/ 501 w 510"/>
                <a:gd name="T3" fmla="*/ 119 h 257"/>
                <a:gd name="T4" fmla="*/ 501 w 510"/>
                <a:gd name="T5" fmla="*/ 119 h 257"/>
                <a:gd name="T6" fmla="*/ 501 w 510"/>
                <a:gd name="T7" fmla="*/ 119 h 257"/>
                <a:gd name="T8" fmla="*/ 501 w 510"/>
                <a:gd name="T9" fmla="*/ 119 h 257"/>
                <a:gd name="T10" fmla="*/ 501 w 510"/>
                <a:gd name="T11" fmla="*/ 119 h 257"/>
                <a:gd name="T12" fmla="*/ 251 w 510"/>
                <a:gd name="T13" fmla="*/ 0 h 257"/>
                <a:gd name="T14" fmla="*/ 0 w 510"/>
                <a:gd name="T15" fmla="*/ 119 h 257"/>
                <a:gd name="T16" fmla="*/ 251 w 510"/>
                <a:gd name="T17" fmla="*/ 236 h 257"/>
                <a:gd name="T18" fmla="*/ 491 w 510"/>
                <a:gd name="T19" fmla="*/ 123 h 257"/>
                <a:gd name="T20" fmla="*/ 491 w 510"/>
                <a:gd name="T21" fmla="*/ 231 h 257"/>
                <a:gd name="T22" fmla="*/ 491 w 510"/>
                <a:gd name="T23" fmla="*/ 231 h 257"/>
                <a:gd name="T24" fmla="*/ 488 w 510"/>
                <a:gd name="T25" fmla="*/ 232 h 257"/>
                <a:gd name="T26" fmla="*/ 484 w 510"/>
                <a:gd name="T27" fmla="*/ 236 h 257"/>
                <a:gd name="T28" fmla="*/ 483 w 510"/>
                <a:gd name="T29" fmla="*/ 239 h 257"/>
                <a:gd name="T30" fmla="*/ 483 w 510"/>
                <a:gd name="T31" fmla="*/ 243 h 257"/>
                <a:gd name="T32" fmla="*/ 483 w 510"/>
                <a:gd name="T33" fmla="*/ 243 h 257"/>
                <a:gd name="T34" fmla="*/ 483 w 510"/>
                <a:gd name="T35" fmla="*/ 249 h 257"/>
                <a:gd name="T36" fmla="*/ 487 w 510"/>
                <a:gd name="T37" fmla="*/ 253 h 257"/>
                <a:gd name="T38" fmla="*/ 491 w 510"/>
                <a:gd name="T39" fmla="*/ 256 h 257"/>
                <a:gd name="T40" fmla="*/ 496 w 510"/>
                <a:gd name="T41" fmla="*/ 257 h 257"/>
                <a:gd name="T42" fmla="*/ 496 w 510"/>
                <a:gd name="T43" fmla="*/ 257 h 257"/>
                <a:gd name="T44" fmla="*/ 501 w 510"/>
                <a:gd name="T45" fmla="*/ 256 h 257"/>
                <a:gd name="T46" fmla="*/ 506 w 510"/>
                <a:gd name="T47" fmla="*/ 253 h 257"/>
                <a:gd name="T48" fmla="*/ 509 w 510"/>
                <a:gd name="T49" fmla="*/ 249 h 257"/>
                <a:gd name="T50" fmla="*/ 510 w 510"/>
                <a:gd name="T51" fmla="*/ 243 h 257"/>
                <a:gd name="T52" fmla="*/ 510 w 510"/>
                <a:gd name="T53" fmla="*/ 243 h 257"/>
                <a:gd name="T54" fmla="*/ 509 w 510"/>
                <a:gd name="T55" fmla="*/ 239 h 257"/>
                <a:gd name="T56" fmla="*/ 508 w 510"/>
                <a:gd name="T57" fmla="*/ 236 h 257"/>
                <a:gd name="T58" fmla="*/ 505 w 510"/>
                <a:gd name="T59" fmla="*/ 232 h 257"/>
                <a:gd name="T60" fmla="*/ 501 w 510"/>
                <a:gd name="T61" fmla="*/ 231 h 257"/>
                <a:gd name="T62" fmla="*/ 501 w 510"/>
                <a:gd name="T63" fmla="*/ 231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0" h="257">
                  <a:moveTo>
                    <a:pt x="501" y="231"/>
                  </a:moveTo>
                  <a:lnTo>
                    <a:pt x="501" y="119"/>
                  </a:lnTo>
                  <a:lnTo>
                    <a:pt x="501" y="119"/>
                  </a:lnTo>
                  <a:lnTo>
                    <a:pt x="501" y="119"/>
                  </a:lnTo>
                  <a:lnTo>
                    <a:pt x="501" y="119"/>
                  </a:lnTo>
                  <a:lnTo>
                    <a:pt x="501" y="119"/>
                  </a:lnTo>
                  <a:lnTo>
                    <a:pt x="251" y="0"/>
                  </a:lnTo>
                  <a:lnTo>
                    <a:pt x="0" y="119"/>
                  </a:lnTo>
                  <a:lnTo>
                    <a:pt x="251" y="236"/>
                  </a:lnTo>
                  <a:lnTo>
                    <a:pt x="491" y="123"/>
                  </a:lnTo>
                  <a:lnTo>
                    <a:pt x="491" y="231"/>
                  </a:lnTo>
                  <a:lnTo>
                    <a:pt x="491" y="231"/>
                  </a:lnTo>
                  <a:lnTo>
                    <a:pt x="488" y="232"/>
                  </a:lnTo>
                  <a:lnTo>
                    <a:pt x="484" y="236"/>
                  </a:lnTo>
                  <a:lnTo>
                    <a:pt x="483" y="239"/>
                  </a:lnTo>
                  <a:lnTo>
                    <a:pt x="483" y="243"/>
                  </a:lnTo>
                  <a:lnTo>
                    <a:pt x="483" y="243"/>
                  </a:lnTo>
                  <a:lnTo>
                    <a:pt x="483" y="249"/>
                  </a:lnTo>
                  <a:lnTo>
                    <a:pt x="487" y="253"/>
                  </a:lnTo>
                  <a:lnTo>
                    <a:pt x="491" y="256"/>
                  </a:lnTo>
                  <a:lnTo>
                    <a:pt x="496" y="257"/>
                  </a:lnTo>
                  <a:lnTo>
                    <a:pt x="496" y="257"/>
                  </a:lnTo>
                  <a:lnTo>
                    <a:pt x="501" y="256"/>
                  </a:lnTo>
                  <a:lnTo>
                    <a:pt x="506" y="253"/>
                  </a:lnTo>
                  <a:lnTo>
                    <a:pt x="509" y="249"/>
                  </a:lnTo>
                  <a:lnTo>
                    <a:pt x="510" y="243"/>
                  </a:lnTo>
                  <a:lnTo>
                    <a:pt x="510" y="243"/>
                  </a:lnTo>
                  <a:lnTo>
                    <a:pt x="509" y="239"/>
                  </a:lnTo>
                  <a:lnTo>
                    <a:pt x="508" y="236"/>
                  </a:lnTo>
                  <a:lnTo>
                    <a:pt x="505" y="232"/>
                  </a:lnTo>
                  <a:lnTo>
                    <a:pt x="501" y="231"/>
                  </a:lnTo>
                  <a:lnTo>
                    <a:pt x="501" y="2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grpSp>
      <p:grpSp>
        <p:nvGrpSpPr>
          <p:cNvPr id="47" name="Группа 46"/>
          <p:cNvGrpSpPr/>
          <p:nvPr/>
        </p:nvGrpSpPr>
        <p:grpSpPr>
          <a:xfrm>
            <a:off x="2843808" y="5411197"/>
            <a:ext cx="463240" cy="401834"/>
            <a:chOff x="2860676" y="4043363"/>
            <a:chExt cx="682625" cy="592138"/>
          </a:xfrm>
        </p:grpSpPr>
        <p:sp>
          <p:nvSpPr>
            <p:cNvPr id="48" name="Freeform 12"/>
            <p:cNvSpPr>
              <a:spLocks noEditPoints="1"/>
            </p:cNvSpPr>
            <p:nvPr/>
          </p:nvSpPr>
          <p:spPr bwMode="auto">
            <a:xfrm>
              <a:off x="2860676" y="4043363"/>
              <a:ext cx="682625" cy="592138"/>
            </a:xfrm>
            <a:custGeom>
              <a:avLst/>
              <a:gdLst>
                <a:gd name="T0" fmla="*/ 322 w 430"/>
                <a:gd name="T1" fmla="*/ 0 h 373"/>
                <a:gd name="T2" fmla="*/ 107 w 430"/>
                <a:gd name="T3" fmla="*/ 0 h 373"/>
                <a:gd name="T4" fmla="*/ 0 w 430"/>
                <a:gd name="T5" fmla="*/ 186 h 373"/>
                <a:gd name="T6" fmla="*/ 107 w 430"/>
                <a:gd name="T7" fmla="*/ 373 h 373"/>
                <a:gd name="T8" fmla="*/ 322 w 430"/>
                <a:gd name="T9" fmla="*/ 373 h 373"/>
                <a:gd name="T10" fmla="*/ 430 w 430"/>
                <a:gd name="T11" fmla="*/ 186 h 373"/>
                <a:gd name="T12" fmla="*/ 322 w 430"/>
                <a:gd name="T13" fmla="*/ 0 h 373"/>
                <a:gd name="T14" fmla="*/ 315 w 430"/>
                <a:gd name="T15" fmla="*/ 361 h 373"/>
                <a:gd name="T16" fmla="*/ 114 w 430"/>
                <a:gd name="T17" fmla="*/ 361 h 373"/>
                <a:gd name="T18" fmla="*/ 13 w 430"/>
                <a:gd name="T19" fmla="*/ 186 h 373"/>
                <a:gd name="T20" fmla="*/ 114 w 430"/>
                <a:gd name="T21" fmla="*/ 12 h 373"/>
                <a:gd name="T22" fmla="*/ 315 w 430"/>
                <a:gd name="T23" fmla="*/ 12 h 373"/>
                <a:gd name="T24" fmla="*/ 417 w 430"/>
                <a:gd name="T25" fmla="*/ 186 h 373"/>
                <a:gd name="T26" fmla="*/ 315 w 430"/>
                <a:gd name="T27" fmla="*/ 361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0" h="373">
                  <a:moveTo>
                    <a:pt x="322" y="0"/>
                  </a:moveTo>
                  <a:lnTo>
                    <a:pt x="107" y="0"/>
                  </a:lnTo>
                  <a:lnTo>
                    <a:pt x="0" y="186"/>
                  </a:lnTo>
                  <a:lnTo>
                    <a:pt x="107" y="373"/>
                  </a:lnTo>
                  <a:lnTo>
                    <a:pt x="322" y="373"/>
                  </a:lnTo>
                  <a:lnTo>
                    <a:pt x="430" y="186"/>
                  </a:lnTo>
                  <a:lnTo>
                    <a:pt x="322" y="0"/>
                  </a:lnTo>
                  <a:close/>
                  <a:moveTo>
                    <a:pt x="315" y="361"/>
                  </a:moveTo>
                  <a:lnTo>
                    <a:pt x="114" y="361"/>
                  </a:lnTo>
                  <a:lnTo>
                    <a:pt x="13" y="186"/>
                  </a:lnTo>
                  <a:lnTo>
                    <a:pt x="114" y="12"/>
                  </a:lnTo>
                  <a:lnTo>
                    <a:pt x="315" y="12"/>
                  </a:lnTo>
                  <a:lnTo>
                    <a:pt x="417" y="186"/>
                  </a:lnTo>
                  <a:lnTo>
                    <a:pt x="315" y="361"/>
                  </a:lnTo>
                  <a:close/>
                </a:path>
              </a:pathLst>
            </a:custGeom>
            <a:solidFill>
              <a:srgbClr val="0032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49" name="Freeform 13"/>
            <p:cNvSpPr>
              <a:spLocks/>
            </p:cNvSpPr>
            <p:nvPr/>
          </p:nvSpPr>
          <p:spPr bwMode="auto">
            <a:xfrm>
              <a:off x="3032126" y="4171950"/>
              <a:ext cx="92075" cy="92075"/>
            </a:xfrm>
            <a:custGeom>
              <a:avLst/>
              <a:gdLst>
                <a:gd name="T0" fmla="*/ 29 w 58"/>
                <a:gd name="T1" fmla="*/ 0 h 58"/>
                <a:gd name="T2" fmla="*/ 29 w 58"/>
                <a:gd name="T3" fmla="*/ 0 h 58"/>
                <a:gd name="T4" fmla="*/ 24 w 58"/>
                <a:gd name="T5" fmla="*/ 0 h 58"/>
                <a:gd name="T6" fmla="*/ 19 w 58"/>
                <a:gd name="T7" fmla="*/ 2 h 58"/>
                <a:gd name="T8" fmla="*/ 14 w 58"/>
                <a:gd name="T9" fmla="*/ 5 h 58"/>
                <a:gd name="T10" fmla="*/ 10 w 58"/>
                <a:gd name="T11" fmla="*/ 8 h 58"/>
                <a:gd name="T12" fmla="*/ 6 w 58"/>
                <a:gd name="T13" fmla="*/ 13 h 58"/>
                <a:gd name="T14" fmla="*/ 3 w 58"/>
                <a:gd name="T15" fmla="*/ 17 h 58"/>
                <a:gd name="T16" fmla="*/ 2 w 58"/>
                <a:gd name="T17" fmla="*/ 22 h 58"/>
                <a:gd name="T18" fmla="*/ 0 w 58"/>
                <a:gd name="T19" fmla="*/ 29 h 58"/>
                <a:gd name="T20" fmla="*/ 0 w 58"/>
                <a:gd name="T21" fmla="*/ 29 h 58"/>
                <a:gd name="T22" fmla="*/ 2 w 58"/>
                <a:gd name="T23" fmla="*/ 34 h 58"/>
                <a:gd name="T24" fmla="*/ 3 w 58"/>
                <a:gd name="T25" fmla="*/ 39 h 58"/>
                <a:gd name="T26" fmla="*/ 6 w 58"/>
                <a:gd name="T27" fmla="*/ 44 h 58"/>
                <a:gd name="T28" fmla="*/ 10 w 58"/>
                <a:gd name="T29" fmla="*/ 48 h 58"/>
                <a:gd name="T30" fmla="*/ 14 w 58"/>
                <a:gd name="T31" fmla="*/ 52 h 58"/>
                <a:gd name="T32" fmla="*/ 19 w 58"/>
                <a:gd name="T33" fmla="*/ 55 h 58"/>
                <a:gd name="T34" fmla="*/ 24 w 58"/>
                <a:gd name="T35" fmla="*/ 56 h 58"/>
                <a:gd name="T36" fmla="*/ 29 w 58"/>
                <a:gd name="T37" fmla="*/ 58 h 58"/>
                <a:gd name="T38" fmla="*/ 29 w 58"/>
                <a:gd name="T39" fmla="*/ 58 h 58"/>
                <a:gd name="T40" fmla="*/ 36 w 58"/>
                <a:gd name="T41" fmla="*/ 56 h 58"/>
                <a:gd name="T42" fmla="*/ 41 w 58"/>
                <a:gd name="T43" fmla="*/ 55 h 58"/>
                <a:gd name="T44" fmla="*/ 46 w 58"/>
                <a:gd name="T45" fmla="*/ 52 h 58"/>
                <a:gd name="T46" fmla="*/ 50 w 58"/>
                <a:gd name="T47" fmla="*/ 48 h 58"/>
                <a:gd name="T48" fmla="*/ 54 w 58"/>
                <a:gd name="T49" fmla="*/ 44 h 58"/>
                <a:gd name="T50" fmla="*/ 57 w 58"/>
                <a:gd name="T51" fmla="*/ 39 h 58"/>
                <a:gd name="T52" fmla="*/ 58 w 58"/>
                <a:gd name="T53" fmla="*/ 34 h 58"/>
                <a:gd name="T54" fmla="*/ 58 w 58"/>
                <a:gd name="T55" fmla="*/ 29 h 58"/>
                <a:gd name="T56" fmla="*/ 58 w 58"/>
                <a:gd name="T57" fmla="*/ 29 h 58"/>
                <a:gd name="T58" fmla="*/ 58 w 58"/>
                <a:gd name="T59" fmla="*/ 22 h 58"/>
                <a:gd name="T60" fmla="*/ 57 w 58"/>
                <a:gd name="T61" fmla="*/ 17 h 58"/>
                <a:gd name="T62" fmla="*/ 54 w 58"/>
                <a:gd name="T63" fmla="*/ 13 h 58"/>
                <a:gd name="T64" fmla="*/ 50 w 58"/>
                <a:gd name="T65" fmla="*/ 8 h 58"/>
                <a:gd name="T66" fmla="*/ 46 w 58"/>
                <a:gd name="T67" fmla="*/ 5 h 58"/>
                <a:gd name="T68" fmla="*/ 41 w 58"/>
                <a:gd name="T69" fmla="*/ 2 h 58"/>
                <a:gd name="T70" fmla="*/ 36 w 58"/>
                <a:gd name="T71" fmla="*/ 0 h 58"/>
                <a:gd name="T72" fmla="*/ 29 w 58"/>
                <a:gd name="T73" fmla="*/ 0 h 58"/>
                <a:gd name="T74" fmla="*/ 29 w 58"/>
                <a:gd name="T7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8">
                  <a:moveTo>
                    <a:pt x="29" y="0"/>
                  </a:moveTo>
                  <a:lnTo>
                    <a:pt x="29" y="0"/>
                  </a:lnTo>
                  <a:lnTo>
                    <a:pt x="24" y="0"/>
                  </a:lnTo>
                  <a:lnTo>
                    <a:pt x="19" y="2"/>
                  </a:lnTo>
                  <a:lnTo>
                    <a:pt x="14" y="5"/>
                  </a:lnTo>
                  <a:lnTo>
                    <a:pt x="10" y="8"/>
                  </a:lnTo>
                  <a:lnTo>
                    <a:pt x="6" y="13"/>
                  </a:lnTo>
                  <a:lnTo>
                    <a:pt x="3" y="17"/>
                  </a:lnTo>
                  <a:lnTo>
                    <a:pt x="2" y="22"/>
                  </a:lnTo>
                  <a:lnTo>
                    <a:pt x="0" y="29"/>
                  </a:lnTo>
                  <a:lnTo>
                    <a:pt x="0" y="29"/>
                  </a:lnTo>
                  <a:lnTo>
                    <a:pt x="2" y="34"/>
                  </a:lnTo>
                  <a:lnTo>
                    <a:pt x="3" y="39"/>
                  </a:lnTo>
                  <a:lnTo>
                    <a:pt x="6" y="44"/>
                  </a:lnTo>
                  <a:lnTo>
                    <a:pt x="10" y="48"/>
                  </a:lnTo>
                  <a:lnTo>
                    <a:pt x="14" y="52"/>
                  </a:lnTo>
                  <a:lnTo>
                    <a:pt x="19" y="55"/>
                  </a:lnTo>
                  <a:lnTo>
                    <a:pt x="24" y="56"/>
                  </a:lnTo>
                  <a:lnTo>
                    <a:pt x="29" y="58"/>
                  </a:lnTo>
                  <a:lnTo>
                    <a:pt x="29" y="58"/>
                  </a:lnTo>
                  <a:lnTo>
                    <a:pt x="36" y="56"/>
                  </a:lnTo>
                  <a:lnTo>
                    <a:pt x="41" y="55"/>
                  </a:lnTo>
                  <a:lnTo>
                    <a:pt x="46" y="52"/>
                  </a:lnTo>
                  <a:lnTo>
                    <a:pt x="50" y="48"/>
                  </a:lnTo>
                  <a:lnTo>
                    <a:pt x="54" y="44"/>
                  </a:lnTo>
                  <a:lnTo>
                    <a:pt x="57" y="39"/>
                  </a:lnTo>
                  <a:lnTo>
                    <a:pt x="58" y="34"/>
                  </a:lnTo>
                  <a:lnTo>
                    <a:pt x="58" y="29"/>
                  </a:lnTo>
                  <a:lnTo>
                    <a:pt x="58" y="29"/>
                  </a:lnTo>
                  <a:lnTo>
                    <a:pt x="58" y="22"/>
                  </a:lnTo>
                  <a:lnTo>
                    <a:pt x="57" y="17"/>
                  </a:lnTo>
                  <a:lnTo>
                    <a:pt x="54" y="13"/>
                  </a:lnTo>
                  <a:lnTo>
                    <a:pt x="50" y="8"/>
                  </a:lnTo>
                  <a:lnTo>
                    <a:pt x="46" y="5"/>
                  </a:lnTo>
                  <a:lnTo>
                    <a:pt x="41" y="2"/>
                  </a:lnTo>
                  <a:lnTo>
                    <a:pt x="36" y="0"/>
                  </a:lnTo>
                  <a:lnTo>
                    <a:pt x="29" y="0"/>
                  </a:lnTo>
                  <a:lnTo>
                    <a:pt x="29" y="0"/>
                  </a:lnTo>
                  <a:close/>
                </a:path>
              </a:pathLst>
            </a:custGeom>
            <a:solidFill>
              <a:srgbClr val="0032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50" name="Freeform 14"/>
            <p:cNvSpPr>
              <a:spLocks/>
            </p:cNvSpPr>
            <p:nvPr/>
          </p:nvSpPr>
          <p:spPr bwMode="auto">
            <a:xfrm>
              <a:off x="3032126" y="4292600"/>
              <a:ext cx="92075" cy="92075"/>
            </a:xfrm>
            <a:custGeom>
              <a:avLst/>
              <a:gdLst>
                <a:gd name="T0" fmla="*/ 29 w 58"/>
                <a:gd name="T1" fmla="*/ 0 h 58"/>
                <a:gd name="T2" fmla="*/ 29 w 58"/>
                <a:gd name="T3" fmla="*/ 0 h 58"/>
                <a:gd name="T4" fmla="*/ 24 w 58"/>
                <a:gd name="T5" fmla="*/ 1 h 58"/>
                <a:gd name="T6" fmla="*/ 19 w 58"/>
                <a:gd name="T7" fmla="*/ 3 h 58"/>
                <a:gd name="T8" fmla="*/ 14 w 58"/>
                <a:gd name="T9" fmla="*/ 5 h 58"/>
                <a:gd name="T10" fmla="*/ 10 w 58"/>
                <a:gd name="T11" fmla="*/ 9 h 58"/>
                <a:gd name="T12" fmla="*/ 6 w 58"/>
                <a:gd name="T13" fmla="*/ 13 h 58"/>
                <a:gd name="T14" fmla="*/ 3 w 58"/>
                <a:gd name="T15" fmla="*/ 19 h 58"/>
                <a:gd name="T16" fmla="*/ 2 w 58"/>
                <a:gd name="T17" fmla="*/ 24 h 58"/>
                <a:gd name="T18" fmla="*/ 0 w 58"/>
                <a:gd name="T19" fmla="*/ 29 h 58"/>
                <a:gd name="T20" fmla="*/ 0 w 58"/>
                <a:gd name="T21" fmla="*/ 29 h 58"/>
                <a:gd name="T22" fmla="*/ 2 w 58"/>
                <a:gd name="T23" fmla="*/ 36 h 58"/>
                <a:gd name="T24" fmla="*/ 3 w 58"/>
                <a:gd name="T25" fmla="*/ 41 h 58"/>
                <a:gd name="T26" fmla="*/ 6 w 58"/>
                <a:gd name="T27" fmla="*/ 46 h 58"/>
                <a:gd name="T28" fmla="*/ 10 w 58"/>
                <a:gd name="T29" fmla="*/ 50 h 58"/>
                <a:gd name="T30" fmla="*/ 14 w 58"/>
                <a:gd name="T31" fmla="*/ 54 h 58"/>
                <a:gd name="T32" fmla="*/ 19 w 58"/>
                <a:gd name="T33" fmla="*/ 57 h 58"/>
                <a:gd name="T34" fmla="*/ 24 w 58"/>
                <a:gd name="T35" fmla="*/ 58 h 58"/>
                <a:gd name="T36" fmla="*/ 29 w 58"/>
                <a:gd name="T37" fmla="*/ 58 h 58"/>
                <a:gd name="T38" fmla="*/ 29 w 58"/>
                <a:gd name="T39" fmla="*/ 58 h 58"/>
                <a:gd name="T40" fmla="*/ 36 w 58"/>
                <a:gd name="T41" fmla="*/ 58 h 58"/>
                <a:gd name="T42" fmla="*/ 41 w 58"/>
                <a:gd name="T43" fmla="*/ 57 h 58"/>
                <a:gd name="T44" fmla="*/ 46 w 58"/>
                <a:gd name="T45" fmla="*/ 54 h 58"/>
                <a:gd name="T46" fmla="*/ 50 w 58"/>
                <a:gd name="T47" fmla="*/ 50 h 58"/>
                <a:gd name="T48" fmla="*/ 54 w 58"/>
                <a:gd name="T49" fmla="*/ 46 h 58"/>
                <a:gd name="T50" fmla="*/ 57 w 58"/>
                <a:gd name="T51" fmla="*/ 41 h 58"/>
                <a:gd name="T52" fmla="*/ 58 w 58"/>
                <a:gd name="T53" fmla="*/ 36 h 58"/>
                <a:gd name="T54" fmla="*/ 58 w 58"/>
                <a:gd name="T55" fmla="*/ 29 h 58"/>
                <a:gd name="T56" fmla="*/ 58 w 58"/>
                <a:gd name="T57" fmla="*/ 29 h 58"/>
                <a:gd name="T58" fmla="*/ 58 w 58"/>
                <a:gd name="T59" fmla="*/ 24 h 58"/>
                <a:gd name="T60" fmla="*/ 57 w 58"/>
                <a:gd name="T61" fmla="*/ 19 h 58"/>
                <a:gd name="T62" fmla="*/ 54 w 58"/>
                <a:gd name="T63" fmla="*/ 13 h 58"/>
                <a:gd name="T64" fmla="*/ 50 w 58"/>
                <a:gd name="T65" fmla="*/ 9 h 58"/>
                <a:gd name="T66" fmla="*/ 46 w 58"/>
                <a:gd name="T67" fmla="*/ 5 h 58"/>
                <a:gd name="T68" fmla="*/ 41 w 58"/>
                <a:gd name="T69" fmla="*/ 3 h 58"/>
                <a:gd name="T70" fmla="*/ 36 w 58"/>
                <a:gd name="T71" fmla="*/ 1 h 58"/>
                <a:gd name="T72" fmla="*/ 29 w 58"/>
                <a:gd name="T73" fmla="*/ 0 h 58"/>
                <a:gd name="T74" fmla="*/ 29 w 58"/>
                <a:gd name="T7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8">
                  <a:moveTo>
                    <a:pt x="29" y="0"/>
                  </a:moveTo>
                  <a:lnTo>
                    <a:pt x="29" y="0"/>
                  </a:lnTo>
                  <a:lnTo>
                    <a:pt x="24" y="1"/>
                  </a:lnTo>
                  <a:lnTo>
                    <a:pt x="19" y="3"/>
                  </a:lnTo>
                  <a:lnTo>
                    <a:pt x="14" y="5"/>
                  </a:lnTo>
                  <a:lnTo>
                    <a:pt x="10" y="9"/>
                  </a:lnTo>
                  <a:lnTo>
                    <a:pt x="6" y="13"/>
                  </a:lnTo>
                  <a:lnTo>
                    <a:pt x="3" y="19"/>
                  </a:lnTo>
                  <a:lnTo>
                    <a:pt x="2" y="24"/>
                  </a:lnTo>
                  <a:lnTo>
                    <a:pt x="0" y="29"/>
                  </a:lnTo>
                  <a:lnTo>
                    <a:pt x="0" y="29"/>
                  </a:lnTo>
                  <a:lnTo>
                    <a:pt x="2" y="36"/>
                  </a:lnTo>
                  <a:lnTo>
                    <a:pt x="3" y="41"/>
                  </a:lnTo>
                  <a:lnTo>
                    <a:pt x="6" y="46"/>
                  </a:lnTo>
                  <a:lnTo>
                    <a:pt x="10" y="50"/>
                  </a:lnTo>
                  <a:lnTo>
                    <a:pt x="14" y="54"/>
                  </a:lnTo>
                  <a:lnTo>
                    <a:pt x="19" y="57"/>
                  </a:lnTo>
                  <a:lnTo>
                    <a:pt x="24" y="58"/>
                  </a:lnTo>
                  <a:lnTo>
                    <a:pt x="29" y="58"/>
                  </a:lnTo>
                  <a:lnTo>
                    <a:pt x="29" y="58"/>
                  </a:lnTo>
                  <a:lnTo>
                    <a:pt x="36" y="58"/>
                  </a:lnTo>
                  <a:lnTo>
                    <a:pt x="41" y="57"/>
                  </a:lnTo>
                  <a:lnTo>
                    <a:pt x="46" y="54"/>
                  </a:lnTo>
                  <a:lnTo>
                    <a:pt x="50" y="50"/>
                  </a:lnTo>
                  <a:lnTo>
                    <a:pt x="54" y="46"/>
                  </a:lnTo>
                  <a:lnTo>
                    <a:pt x="57" y="41"/>
                  </a:lnTo>
                  <a:lnTo>
                    <a:pt x="58" y="36"/>
                  </a:lnTo>
                  <a:lnTo>
                    <a:pt x="58" y="29"/>
                  </a:lnTo>
                  <a:lnTo>
                    <a:pt x="58" y="29"/>
                  </a:lnTo>
                  <a:lnTo>
                    <a:pt x="58" y="24"/>
                  </a:lnTo>
                  <a:lnTo>
                    <a:pt x="57" y="19"/>
                  </a:lnTo>
                  <a:lnTo>
                    <a:pt x="54" y="13"/>
                  </a:lnTo>
                  <a:lnTo>
                    <a:pt x="50" y="9"/>
                  </a:lnTo>
                  <a:lnTo>
                    <a:pt x="46" y="5"/>
                  </a:lnTo>
                  <a:lnTo>
                    <a:pt x="41" y="3"/>
                  </a:lnTo>
                  <a:lnTo>
                    <a:pt x="36" y="1"/>
                  </a:lnTo>
                  <a:lnTo>
                    <a:pt x="29" y="0"/>
                  </a:lnTo>
                  <a:lnTo>
                    <a:pt x="29" y="0"/>
                  </a:lnTo>
                  <a:close/>
                </a:path>
              </a:pathLst>
            </a:custGeom>
            <a:solidFill>
              <a:srgbClr val="0032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51" name="Freeform 15"/>
            <p:cNvSpPr>
              <a:spLocks/>
            </p:cNvSpPr>
            <p:nvPr/>
          </p:nvSpPr>
          <p:spPr bwMode="auto">
            <a:xfrm>
              <a:off x="3032126" y="4416425"/>
              <a:ext cx="92075" cy="92075"/>
            </a:xfrm>
            <a:custGeom>
              <a:avLst/>
              <a:gdLst>
                <a:gd name="T0" fmla="*/ 29 w 58"/>
                <a:gd name="T1" fmla="*/ 0 h 58"/>
                <a:gd name="T2" fmla="*/ 29 w 58"/>
                <a:gd name="T3" fmla="*/ 0 h 58"/>
                <a:gd name="T4" fmla="*/ 24 w 58"/>
                <a:gd name="T5" fmla="*/ 0 h 58"/>
                <a:gd name="T6" fmla="*/ 19 w 58"/>
                <a:gd name="T7" fmla="*/ 3 h 58"/>
                <a:gd name="T8" fmla="*/ 14 w 58"/>
                <a:gd name="T9" fmla="*/ 5 h 58"/>
                <a:gd name="T10" fmla="*/ 10 w 58"/>
                <a:gd name="T11" fmla="*/ 8 h 58"/>
                <a:gd name="T12" fmla="*/ 6 w 58"/>
                <a:gd name="T13" fmla="*/ 13 h 58"/>
                <a:gd name="T14" fmla="*/ 3 w 58"/>
                <a:gd name="T15" fmla="*/ 17 h 58"/>
                <a:gd name="T16" fmla="*/ 2 w 58"/>
                <a:gd name="T17" fmla="*/ 22 h 58"/>
                <a:gd name="T18" fmla="*/ 0 w 58"/>
                <a:gd name="T19" fmla="*/ 29 h 58"/>
                <a:gd name="T20" fmla="*/ 0 w 58"/>
                <a:gd name="T21" fmla="*/ 29 h 58"/>
                <a:gd name="T22" fmla="*/ 2 w 58"/>
                <a:gd name="T23" fmla="*/ 34 h 58"/>
                <a:gd name="T24" fmla="*/ 3 w 58"/>
                <a:gd name="T25" fmla="*/ 39 h 58"/>
                <a:gd name="T26" fmla="*/ 6 w 58"/>
                <a:gd name="T27" fmla="*/ 45 h 58"/>
                <a:gd name="T28" fmla="*/ 10 w 58"/>
                <a:gd name="T29" fmla="*/ 49 h 58"/>
                <a:gd name="T30" fmla="*/ 14 w 58"/>
                <a:gd name="T31" fmla="*/ 53 h 58"/>
                <a:gd name="T32" fmla="*/ 19 w 58"/>
                <a:gd name="T33" fmla="*/ 55 h 58"/>
                <a:gd name="T34" fmla="*/ 24 w 58"/>
                <a:gd name="T35" fmla="*/ 57 h 58"/>
                <a:gd name="T36" fmla="*/ 29 w 58"/>
                <a:gd name="T37" fmla="*/ 58 h 58"/>
                <a:gd name="T38" fmla="*/ 29 w 58"/>
                <a:gd name="T39" fmla="*/ 58 h 58"/>
                <a:gd name="T40" fmla="*/ 36 w 58"/>
                <a:gd name="T41" fmla="*/ 57 h 58"/>
                <a:gd name="T42" fmla="*/ 41 w 58"/>
                <a:gd name="T43" fmla="*/ 55 h 58"/>
                <a:gd name="T44" fmla="*/ 46 w 58"/>
                <a:gd name="T45" fmla="*/ 53 h 58"/>
                <a:gd name="T46" fmla="*/ 50 w 58"/>
                <a:gd name="T47" fmla="*/ 49 h 58"/>
                <a:gd name="T48" fmla="*/ 54 w 58"/>
                <a:gd name="T49" fmla="*/ 45 h 58"/>
                <a:gd name="T50" fmla="*/ 57 w 58"/>
                <a:gd name="T51" fmla="*/ 39 h 58"/>
                <a:gd name="T52" fmla="*/ 58 w 58"/>
                <a:gd name="T53" fmla="*/ 34 h 58"/>
                <a:gd name="T54" fmla="*/ 58 w 58"/>
                <a:gd name="T55" fmla="*/ 29 h 58"/>
                <a:gd name="T56" fmla="*/ 58 w 58"/>
                <a:gd name="T57" fmla="*/ 29 h 58"/>
                <a:gd name="T58" fmla="*/ 58 w 58"/>
                <a:gd name="T59" fmla="*/ 22 h 58"/>
                <a:gd name="T60" fmla="*/ 57 w 58"/>
                <a:gd name="T61" fmla="*/ 17 h 58"/>
                <a:gd name="T62" fmla="*/ 54 w 58"/>
                <a:gd name="T63" fmla="*/ 13 h 58"/>
                <a:gd name="T64" fmla="*/ 50 w 58"/>
                <a:gd name="T65" fmla="*/ 8 h 58"/>
                <a:gd name="T66" fmla="*/ 46 w 58"/>
                <a:gd name="T67" fmla="*/ 5 h 58"/>
                <a:gd name="T68" fmla="*/ 41 w 58"/>
                <a:gd name="T69" fmla="*/ 3 h 58"/>
                <a:gd name="T70" fmla="*/ 36 w 58"/>
                <a:gd name="T71" fmla="*/ 0 h 58"/>
                <a:gd name="T72" fmla="*/ 29 w 58"/>
                <a:gd name="T73" fmla="*/ 0 h 58"/>
                <a:gd name="T74" fmla="*/ 29 w 58"/>
                <a:gd name="T7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8">
                  <a:moveTo>
                    <a:pt x="29" y="0"/>
                  </a:moveTo>
                  <a:lnTo>
                    <a:pt x="29" y="0"/>
                  </a:lnTo>
                  <a:lnTo>
                    <a:pt x="24" y="0"/>
                  </a:lnTo>
                  <a:lnTo>
                    <a:pt x="19" y="3"/>
                  </a:lnTo>
                  <a:lnTo>
                    <a:pt x="14" y="5"/>
                  </a:lnTo>
                  <a:lnTo>
                    <a:pt x="10" y="8"/>
                  </a:lnTo>
                  <a:lnTo>
                    <a:pt x="6" y="13"/>
                  </a:lnTo>
                  <a:lnTo>
                    <a:pt x="3" y="17"/>
                  </a:lnTo>
                  <a:lnTo>
                    <a:pt x="2" y="22"/>
                  </a:lnTo>
                  <a:lnTo>
                    <a:pt x="0" y="29"/>
                  </a:lnTo>
                  <a:lnTo>
                    <a:pt x="0" y="29"/>
                  </a:lnTo>
                  <a:lnTo>
                    <a:pt x="2" y="34"/>
                  </a:lnTo>
                  <a:lnTo>
                    <a:pt x="3" y="39"/>
                  </a:lnTo>
                  <a:lnTo>
                    <a:pt x="6" y="45"/>
                  </a:lnTo>
                  <a:lnTo>
                    <a:pt x="10" y="49"/>
                  </a:lnTo>
                  <a:lnTo>
                    <a:pt x="14" y="53"/>
                  </a:lnTo>
                  <a:lnTo>
                    <a:pt x="19" y="55"/>
                  </a:lnTo>
                  <a:lnTo>
                    <a:pt x="24" y="57"/>
                  </a:lnTo>
                  <a:lnTo>
                    <a:pt x="29" y="58"/>
                  </a:lnTo>
                  <a:lnTo>
                    <a:pt x="29" y="58"/>
                  </a:lnTo>
                  <a:lnTo>
                    <a:pt x="36" y="57"/>
                  </a:lnTo>
                  <a:lnTo>
                    <a:pt x="41" y="55"/>
                  </a:lnTo>
                  <a:lnTo>
                    <a:pt x="46" y="53"/>
                  </a:lnTo>
                  <a:lnTo>
                    <a:pt x="50" y="49"/>
                  </a:lnTo>
                  <a:lnTo>
                    <a:pt x="54" y="45"/>
                  </a:lnTo>
                  <a:lnTo>
                    <a:pt x="57" y="39"/>
                  </a:lnTo>
                  <a:lnTo>
                    <a:pt x="58" y="34"/>
                  </a:lnTo>
                  <a:lnTo>
                    <a:pt x="58" y="29"/>
                  </a:lnTo>
                  <a:lnTo>
                    <a:pt x="58" y="29"/>
                  </a:lnTo>
                  <a:lnTo>
                    <a:pt x="58" y="22"/>
                  </a:lnTo>
                  <a:lnTo>
                    <a:pt x="57" y="17"/>
                  </a:lnTo>
                  <a:lnTo>
                    <a:pt x="54" y="13"/>
                  </a:lnTo>
                  <a:lnTo>
                    <a:pt x="50" y="8"/>
                  </a:lnTo>
                  <a:lnTo>
                    <a:pt x="46" y="5"/>
                  </a:lnTo>
                  <a:lnTo>
                    <a:pt x="41" y="3"/>
                  </a:lnTo>
                  <a:lnTo>
                    <a:pt x="36" y="0"/>
                  </a:lnTo>
                  <a:lnTo>
                    <a:pt x="29" y="0"/>
                  </a:lnTo>
                  <a:lnTo>
                    <a:pt x="29" y="0"/>
                  </a:lnTo>
                  <a:close/>
                </a:path>
              </a:pathLst>
            </a:custGeom>
            <a:solidFill>
              <a:srgbClr val="0032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52" name="Freeform 16"/>
            <p:cNvSpPr>
              <a:spLocks/>
            </p:cNvSpPr>
            <p:nvPr/>
          </p:nvSpPr>
          <p:spPr bwMode="auto">
            <a:xfrm>
              <a:off x="3278188" y="4171950"/>
              <a:ext cx="92075" cy="92075"/>
            </a:xfrm>
            <a:custGeom>
              <a:avLst/>
              <a:gdLst>
                <a:gd name="T0" fmla="*/ 29 w 58"/>
                <a:gd name="T1" fmla="*/ 58 h 58"/>
                <a:gd name="T2" fmla="*/ 29 w 58"/>
                <a:gd name="T3" fmla="*/ 58 h 58"/>
                <a:gd name="T4" fmla="*/ 35 w 58"/>
                <a:gd name="T5" fmla="*/ 56 h 58"/>
                <a:gd name="T6" fmla="*/ 40 w 58"/>
                <a:gd name="T7" fmla="*/ 55 h 58"/>
                <a:gd name="T8" fmla="*/ 46 w 58"/>
                <a:gd name="T9" fmla="*/ 52 h 58"/>
                <a:gd name="T10" fmla="*/ 50 w 58"/>
                <a:gd name="T11" fmla="*/ 48 h 58"/>
                <a:gd name="T12" fmla="*/ 54 w 58"/>
                <a:gd name="T13" fmla="*/ 44 h 58"/>
                <a:gd name="T14" fmla="*/ 56 w 58"/>
                <a:gd name="T15" fmla="*/ 39 h 58"/>
                <a:gd name="T16" fmla="*/ 58 w 58"/>
                <a:gd name="T17" fmla="*/ 34 h 58"/>
                <a:gd name="T18" fmla="*/ 58 w 58"/>
                <a:gd name="T19" fmla="*/ 29 h 58"/>
                <a:gd name="T20" fmla="*/ 58 w 58"/>
                <a:gd name="T21" fmla="*/ 29 h 58"/>
                <a:gd name="T22" fmla="*/ 58 w 58"/>
                <a:gd name="T23" fmla="*/ 22 h 58"/>
                <a:gd name="T24" fmla="*/ 56 w 58"/>
                <a:gd name="T25" fmla="*/ 17 h 58"/>
                <a:gd name="T26" fmla="*/ 54 w 58"/>
                <a:gd name="T27" fmla="*/ 13 h 58"/>
                <a:gd name="T28" fmla="*/ 50 w 58"/>
                <a:gd name="T29" fmla="*/ 8 h 58"/>
                <a:gd name="T30" fmla="*/ 46 w 58"/>
                <a:gd name="T31" fmla="*/ 5 h 58"/>
                <a:gd name="T32" fmla="*/ 40 w 58"/>
                <a:gd name="T33" fmla="*/ 2 h 58"/>
                <a:gd name="T34" fmla="*/ 35 w 58"/>
                <a:gd name="T35" fmla="*/ 0 h 58"/>
                <a:gd name="T36" fmla="*/ 29 w 58"/>
                <a:gd name="T37" fmla="*/ 0 h 58"/>
                <a:gd name="T38" fmla="*/ 29 w 58"/>
                <a:gd name="T39" fmla="*/ 0 h 58"/>
                <a:gd name="T40" fmla="*/ 23 w 58"/>
                <a:gd name="T41" fmla="*/ 0 h 58"/>
                <a:gd name="T42" fmla="*/ 18 w 58"/>
                <a:gd name="T43" fmla="*/ 2 h 58"/>
                <a:gd name="T44" fmla="*/ 13 w 58"/>
                <a:gd name="T45" fmla="*/ 5 h 58"/>
                <a:gd name="T46" fmla="*/ 9 w 58"/>
                <a:gd name="T47" fmla="*/ 8 h 58"/>
                <a:gd name="T48" fmla="*/ 5 w 58"/>
                <a:gd name="T49" fmla="*/ 13 h 58"/>
                <a:gd name="T50" fmla="*/ 2 w 58"/>
                <a:gd name="T51" fmla="*/ 17 h 58"/>
                <a:gd name="T52" fmla="*/ 1 w 58"/>
                <a:gd name="T53" fmla="*/ 22 h 58"/>
                <a:gd name="T54" fmla="*/ 0 w 58"/>
                <a:gd name="T55" fmla="*/ 29 h 58"/>
                <a:gd name="T56" fmla="*/ 0 w 58"/>
                <a:gd name="T57" fmla="*/ 29 h 58"/>
                <a:gd name="T58" fmla="*/ 1 w 58"/>
                <a:gd name="T59" fmla="*/ 34 h 58"/>
                <a:gd name="T60" fmla="*/ 2 w 58"/>
                <a:gd name="T61" fmla="*/ 39 h 58"/>
                <a:gd name="T62" fmla="*/ 5 w 58"/>
                <a:gd name="T63" fmla="*/ 44 h 58"/>
                <a:gd name="T64" fmla="*/ 9 w 58"/>
                <a:gd name="T65" fmla="*/ 48 h 58"/>
                <a:gd name="T66" fmla="*/ 13 w 58"/>
                <a:gd name="T67" fmla="*/ 52 h 58"/>
                <a:gd name="T68" fmla="*/ 18 w 58"/>
                <a:gd name="T69" fmla="*/ 55 h 58"/>
                <a:gd name="T70" fmla="*/ 23 w 58"/>
                <a:gd name="T71" fmla="*/ 56 h 58"/>
                <a:gd name="T72" fmla="*/ 29 w 58"/>
                <a:gd name="T73" fmla="*/ 58 h 58"/>
                <a:gd name="T74" fmla="*/ 29 w 58"/>
                <a:gd name="T7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8">
                  <a:moveTo>
                    <a:pt x="29" y="58"/>
                  </a:moveTo>
                  <a:lnTo>
                    <a:pt x="29" y="58"/>
                  </a:lnTo>
                  <a:lnTo>
                    <a:pt x="35" y="56"/>
                  </a:lnTo>
                  <a:lnTo>
                    <a:pt x="40" y="55"/>
                  </a:lnTo>
                  <a:lnTo>
                    <a:pt x="46" y="52"/>
                  </a:lnTo>
                  <a:lnTo>
                    <a:pt x="50" y="48"/>
                  </a:lnTo>
                  <a:lnTo>
                    <a:pt x="54" y="44"/>
                  </a:lnTo>
                  <a:lnTo>
                    <a:pt x="56" y="39"/>
                  </a:lnTo>
                  <a:lnTo>
                    <a:pt x="58" y="34"/>
                  </a:lnTo>
                  <a:lnTo>
                    <a:pt x="58" y="29"/>
                  </a:lnTo>
                  <a:lnTo>
                    <a:pt x="58" y="29"/>
                  </a:lnTo>
                  <a:lnTo>
                    <a:pt x="58" y="22"/>
                  </a:lnTo>
                  <a:lnTo>
                    <a:pt x="56" y="17"/>
                  </a:lnTo>
                  <a:lnTo>
                    <a:pt x="54" y="13"/>
                  </a:lnTo>
                  <a:lnTo>
                    <a:pt x="50" y="8"/>
                  </a:lnTo>
                  <a:lnTo>
                    <a:pt x="46" y="5"/>
                  </a:lnTo>
                  <a:lnTo>
                    <a:pt x="40" y="2"/>
                  </a:lnTo>
                  <a:lnTo>
                    <a:pt x="35" y="0"/>
                  </a:lnTo>
                  <a:lnTo>
                    <a:pt x="29" y="0"/>
                  </a:lnTo>
                  <a:lnTo>
                    <a:pt x="29" y="0"/>
                  </a:lnTo>
                  <a:lnTo>
                    <a:pt x="23" y="0"/>
                  </a:lnTo>
                  <a:lnTo>
                    <a:pt x="18" y="2"/>
                  </a:lnTo>
                  <a:lnTo>
                    <a:pt x="13" y="5"/>
                  </a:lnTo>
                  <a:lnTo>
                    <a:pt x="9" y="8"/>
                  </a:lnTo>
                  <a:lnTo>
                    <a:pt x="5" y="13"/>
                  </a:lnTo>
                  <a:lnTo>
                    <a:pt x="2" y="17"/>
                  </a:lnTo>
                  <a:lnTo>
                    <a:pt x="1" y="22"/>
                  </a:lnTo>
                  <a:lnTo>
                    <a:pt x="0" y="29"/>
                  </a:lnTo>
                  <a:lnTo>
                    <a:pt x="0" y="29"/>
                  </a:lnTo>
                  <a:lnTo>
                    <a:pt x="1" y="34"/>
                  </a:lnTo>
                  <a:lnTo>
                    <a:pt x="2" y="39"/>
                  </a:lnTo>
                  <a:lnTo>
                    <a:pt x="5" y="44"/>
                  </a:lnTo>
                  <a:lnTo>
                    <a:pt x="9" y="48"/>
                  </a:lnTo>
                  <a:lnTo>
                    <a:pt x="13" y="52"/>
                  </a:lnTo>
                  <a:lnTo>
                    <a:pt x="18" y="55"/>
                  </a:lnTo>
                  <a:lnTo>
                    <a:pt x="23" y="56"/>
                  </a:lnTo>
                  <a:lnTo>
                    <a:pt x="29" y="58"/>
                  </a:lnTo>
                  <a:lnTo>
                    <a:pt x="29" y="58"/>
                  </a:lnTo>
                  <a:close/>
                </a:path>
              </a:pathLst>
            </a:custGeom>
            <a:solidFill>
              <a:srgbClr val="0032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53" name="Freeform 17"/>
            <p:cNvSpPr>
              <a:spLocks/>
            </p:cNvSpPr>
            <p:nvPr/>
          </p:nvSpPr>
          <p:spPr bwMode="auto">
            <a:xfrm>
              <a:off x="3278188" y="4292600"/>
              <a:ext cx="92075" cy="92075"/>
            </a:xfrm>
            <a:custGeom>
              <a:avLst/>
              <a:gdLst>
                <a:gd name="T0" fmla="*/ 29 w 58"/>
                <a:gd name="T1" fmla="*/ 0 h 58"/>
                <a:gd name="T2" fmla="*/ 29 w 58"/>
                <a:gd name="T3" fmla="*/ 0 h 58"/>
                <a:gd name="T4" fmla="*/ 23 w 58"/>
                <a:gd name="T5" fmla="*/ 1 h 58"/>
                <a:gd name="T6" fmla="*/ 18 w 58"/>
                <a:gd name="T7" fmla="*/ 3 h 58"/>
                <a:gd name="T8" fmla="*/ 13 w 58"/>
                <a:gd name="T9" fmla="*/ 5 h 58"/>
                <a:gd name="T10" fmla="*/ 9 w 58"/>
                <a:gd name="T11" fmla="*/ 9 h 58"/>
                <a:gd name="T12" fmla="*/ 5 w 58"/>
                <a:gd name="T13" fmla="*/ 13 h 58"/>
                <a:gd name="T14" fmla="*/ 2 w 58"/>
                <a:gd name="T15" fmla="*/ 19 h 58"/>
                <a:gd name="T16" fmla="*/ 1 w 58"/>
                <a:gd name="T17" fmla="*/ 24 h 58"/>
                <a:gd name="T18" fmla="*/ 0 w 58"/>
                <a:gd name="T19" fmla="*/ 29 h 58"/>
                <a:gd name="T20" fmla="*/ 0 w 58"/>
                <a:gd name="T21" fmla="*/ 29 h 58"/>
                <a:gd name="T22" fmla="*/ 1 w 58"/>
                <a:gd name="T23" fmla="*/ 36 h 58"/>
                <a:gd name="T24" fmla="*/ 2 w 58"/>
                <a:gd name="T25" fmla="*/ 41 h 58"/>
                <a:gd name="T26" fmla="*/ 5 w 58"/>
                <a:gd name="T27" fmla="*/ 46 h 58"/>
                <a:gd name="T28" fmla="*/ 9 w 58"/>
                <a:gd name="T29" fmla="*/ 50 h 58"/>
                <a:gd name="T30" fmla="*/ 13 w 58"/>
                <a:gd name="T31" fmla="*/ 54 h 58"/>
                <a:gd name="T32" fmla="*/ 18 w 58"/>
                <a:gd name="T33" fmla="*/ 57 h 58"/>
                <a:gd name="T34" fmla="*/ 23 w 58"/>
                <a:gd name="T35" fmla="*/ 58 h 58"/>
                <a:gd name="T36" fmla="*/ 29 w 58"/>
                <a:gd name="T37" fmla="*/ 58 h 58"/>
                <a:gd name="T38" fmla="*/ 29 w 58"/>
                <a:gd name="T39" fmla="*/ 58 h 58"/>
                <a:gd name="T40" fmla="*/ 35 w 58"/>
                <a:gd name="T41" fmla="*/ 58 h 58"/>
                <a:gd name="T42" fmla="*/ 40 w 58"/>
                <a:gd name="T43" fmla="*/ 57 h 58"/>
                <a:gd name="T44" fmla="*/ 46 w 58"/>
                <a:gd name="T45" fmla="*/ 54 h 58"/>
                <a:gd name="T46" fmla="*/ 50 w 58"/>
                <a:gd name="T47" fmla="*/ 50 h 58"/>
                <a:gd name="T48" fmla="*/ 54 w 58"/>
                <a:gd name="T49" fmla="*/ 46 h 58"/>
                <a:gd name="T50" fmla="*/ 56 w 58"/>
                <a:gd name="T51" fmla="*/ 41 h 58"/>
                <a:gd name="T52" fmla="*/ 58 w 58"/>
                <a:gd name="T53" fmla="*/ 36 h 58"/>
                <a:gd name="T54" fmla="*/ 58 w 58"/>
                <a:gd name="T55" fmla="*/ 29 h 58"/>
                <a:gd name="T56" fmla="*/ 58 w 58"/>
                <a:gd name="T57" fmla="*/ 29 h 58"/>
                <a:gd name="T58" fmla="*/ 58 w 58"/>
                <a:gd name="T59" fmla="*/ 24 h 58"/>
                <a:gd name="T60" fmla="*/ 56 w 58"/>
                <a:gd name="T61" fmla="*/ 19 h 58"/>
                <a:gd name="T62" fmla="*/ 54 w 58"/>
                <a:gd name="T63" fmla="*/ 13 h 58"/>
                <a:gd name="T64" fmla="*/ 50 w 58"/>
                <a:gd name="T65" fmla="*/ 9 h 58"/>
                <a:gd name="T66" fmla="*/ 46 w 58"/>
                <a:gd name="T67" fmla="*/ 5 h 58"/>
                <a:gd name="T68" fmla="*/ 40 w 58"/>
                <a:gd name="T69" fmla="*/ 3 h 58"/>
                <a:gd name="T70" fmla="*/ 35 w 58"/>
                <a:gd name="T71" fmla="*/ 1 h 58"/>
                <a:gd name="T72" fmla="*/ 29 w 58"/>
                <a:gd name="T73" fmla="*/ 0 h 58"/>
                <a:gd name="T74" fmla="*/ 29 w 58"/>
                <a:gd name="T7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8">
                  <a:moveTo>
                    <a:pt x="29" y="0"/>
                  </a:moveTo>
                  <a:lnTo>
                    <a:pt x="29" y="0"/>
                  </a:lnTo>
                  <a:lnTo>
                    <a:pt x="23" y="1"/>
                  </a:lnTo>
                  <a:lnTo>
                    <a:pt x="18" y="3"/>
                  </a:lnTo>
                  <a:lnTo>
                    <a:pt x="13" y="5"/>
                  </a:lnTo>
                  <a:lnTo>
                    <a:pt x="9" y="9"/>
                  </a:lnTo>
                  <a:lnTo>
                    <a:pt x="5" y="13"/>
                  </a:lnTo>
                  <a:lnTo>
                    <a:pt x="2" y="19"/>
                  </a:lnTo>
                  <a:lnTo>
                    <a:pt x="1" y="24"/>
                  </a:lnTo>
                  <a:lnTo>
                    <a:pt x="0" y="29"/>
                  </a:lnTo>
                  <a:lnTo>
                    <a:pt x="0" y="29"/>
                  </a:lnTo>
                  <a:lnTo>
                    <a:pt x="1" y="36"/>
                  </a:lnTo>
                  <a:lnTo>
                    <a:pt x="2" y="41"/>
                  </a:lnTo>
                  <a:lnTo>
                    <a:pt x="5" y="46"/>
                  </a:lnTo>
                  <a:lnTo>
                    <a:pt x="9" y="50"/>
                  </a:lnTo>
                  <a:lnTo>
                    <a:pt x="13" y="54"/>
                  </a:lnTo>
                  <a:lnTo>
                    <a:pt x="18" y="57"/>
                  </a:lnTo>
                  <a:lnTo>
                    <a:pt x="23" y="58"/>
                  </a:lnTo>
                  <a:lnTo>
                    <a:pt x="29" y="58"/>
                  </a:lnTo>
                  <a:lnTo>
                    <a:pt x="29" y="58"/>
                  </a:lnTo>
                  <a:lnTo>
                    <a:pt x="35" y="58"/>
                  </a:lnTo>
                  <a:lnTo>
                    <a:pt x="40" y="57"/>
                  </a:lnTo>
                  <a:lnTo>
                    <a:pt x="46" y="54"/>
                  </a:lnTo>
                  <a:lnTo>
                    <a:pt x="50" y="50"/>
                  </a:lnTo>
                  <a:lnTo>
                    <a:pt x="54" y="46"/>
                  </a:lnTo>
                  <a:lnTo>
                    <a:pt x="56" y="41"/>
                  </a:lnTo>
                  <a:lnTo>
                    <a:pt x="58" y="36"/>
                  </a:lnTo>
                  <a:lnTo>
                    <a:pt x="58" y="29"/>
                  </a:lnTo>
                  <a:lnTo>
                    <a:pt x="58" y="29"/>
                  </a:lnTo>
                  <a:lnTo>
                    <a:pt x="58" y="24"/>
                  </a:lnTo>
                  <a:lnTo>
                    <a:pt x="56" y="19"/>
                  </a:lnTo>
                  <a:lnTo>
                    <a:pt x="54" y="13"/>
                  </a:lnTo>
                  <a:lnTo>
                    <a:pt x="50" y="9"/>
                  </a:lnTo>
                  <a:lnTo>
                    <a:pt x="46" y="5"/>
                  </a:lnTo>
                  <a:lnTo>
                    <a:pt x="40" y="3"/>
                  </a:lnTo>
                  <a:lnTo>
                    <a:pt x="35" y="1"/>
                  </a:lnTo>
                  <a:lnTo>
                    <a:pt x="29" y="0"/>
                  </a:lnTo>
                  <a:lnTo>
                    <a:pt x="29" y="0"/>
                  </a:lnTo>
                  <a:close/>
                </a:path>
              </a:pathLst>
            </a:custGeom>
            <a:solidFill>
              <a:srgbClr val="0032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54" name="Freeform 18"/>
            <p:cNvSpPr>
              <a:spLocks/>
            </p:cNvSpPr>
            <p:nvPr/>
          </p:nvSpPr>
          <p:spPr bwMode="auto">
            <a:xfrm>
              <a:off x="3278188" y="4416425"/>
              <a:ext cx="92075" cy="92075"/>
            </a:xfrm>
            <a:custGeom>
              <a:avLst/>
              <a:gdLst>
                <a:gd name="T0" fmla="*/ 29 w 58"/>
                <a:gd name="T1" fmla="*/ 0 h 58"/>
                <a:gd name="T2" fmla="*/ 29 w 58"/>
                <a:gd name="T3" fmla="*/ 0 h 58"/>
                <a:gd name="T4" fmla="*/ 23 w 58"/>
                <a:gd name="T5" fmla="*/ 0 h 58"/>
                <a:gd name="T6" fmla="*/ 18 w 58"/>
                <a:gd name="T7" fmla="*/ 3 h 58"/>
                <a:gd name="T8" fmla="*/ 13 w 58"/>
                <a:gd name="T9" fmla="*/ 5 h 58"/>
                <a:gd name="T10" fmla="*/ 9 w 58"/>
                <a:gd name="T11" fmla="*/ 8 h 58"/>
                <a:gd name="T12" fmla="*/ 5 w 58"/>
                <a:gd name="T13" fmla="*/ 13 h 58"/>
                <a:gd name="T14" fmla="*/ 2 w 58"/>
                <a:gd name="T15" fmla="*/ 17 h 58"/>
                <a:gd name="T16" fmla="*/ 1 w 58"/>
                <a:gd name="T17" fmla="*/ 22 h 58"/>
                <a:gd name="T18" fmla="*/ 0 w 58"/>
                <a:gd name="T19" fmla="*/ 29 h 58"/>
                <a:gd name="T20" fmla="*/ 0 w 58"/>
                <a:gd name="T21" fmla="*/ 29 h 58"/>
                <a:gd name="T22" fmla="*/ 1 w 58"/>
                <a:gd name="T23" fmla="*/ 34 h 58"/>
                <a:gd name="T24" fmla="*/ 2 w 58"/>
                <a:gd name="T25" fmla="*/ 39 h 58"/>
                <a:gd name="T26" fmla="*/ 5 w 58"/>
                <a:gd name="T27" fmla="*/ 45 h 58"/>
                <a:gd name="T28" fmla="*/ 9 w 58"/>
                <a:gd name="T29" fmla="*/ 49 h 58"/>
                <a:gd name="T30" fmla="*/ 13 w 58"/>
                <a:gd name="T31" fmla="*/ 53 h 58"/>
                <a:gd name="T32" fmla="*/ 18 w 58"/>
                <a:gd name="T33" fmla="*/ 55 h 58"/>
                <a:gd name="T34" fmla="*/ 23 w 58"/>
                <a:gd name="T35" fmla="*/ 57 h 58"/>
                <a:gd name="T36" fmla="*/ 29 w 58"/>
                <a:gd name="T37" fmla="*/ 58 h 58"/>
                <a:gd name="T38" fmla="*/ 29 w 58"/>
                <a:gd name="T39" fmla="*/ 58 h 58"/>
                <a:gd name="T40" fmla="*/ 35 w 58"/>
                <a:gd name="T41" fmla="*/ 57 h 58"/>
                <a:gd name="T42" fmla="*/ 40 w 58"/>
                <a:gd name="T43" fmla="*/ 55 h 58"/>
                <a:gd name="T44" fmla="*/ 46 w 58"/>
                <a:gd name="T45" fmla="*/ 53 h 58"/>
                <a:gd name="T46" fmla="*/ 50 w 58"/>
                <a:gd name="T47" fmla="*/ 49 h 58"/>
                <a:gd name="T48" fmla="*/ 54 w 58"/>
                <a:gd name="T49" fmla="*/ 45 h 58"/>
                <a:gd name="T50" fmla="*/ 56 w 58"/>
                <a:gd name="T51" fmla="*/ 39 h 58"/>
                <a:gd name="T52" fmla="*/ 58 w 58"/>
                <a:gd name="T53" fmla="*/ 34 h 58"/>
                <a:gd name="T54" fmla="*/ 58 w 58"/>
                <a:gd name="T55" fmla="*/ 29 h 58"/>
                <a:gd name="T56" fmla="*/ 58 w 58"/>
                <a:gd name="T57" fmla="*/ 29 h 58"/>
                <a:gd name="T58" fmla="*/ 58 w 58"/>
                <a:gd name="T59" fmla="*/ 22 h 58"/>
                <a:gd name="T60" fmla="*/ 56 w 58"/>
                <a:gd name="T61" fmla="*/ 17 h 58"/>
                <a:gd name="T62" fmla="*/ 54 w 58"/>
                <a:gd name="T63" fmla="*/ 13 h 58"/>
                <a:gd name="T64" fmla="*/ 50 w 58"/>
                <a:gd name="T65" fmla="*/ 8 h 58"/>
                <a:gd name="T66" fmla="*/ 46 w 58"/>
                <a:gd name="T67" fmla="*/ 5 h 58"/>
                <a:gd name="T68" fmla="*/ 40 w 58"/>
                <a:gd name="T69" fmla="*/ 3 h 58"/>
                <a:gd name="T70" fmla="*/ 35 w 58"/>
                <a:gd name="T71" fmla="*/ 0 h 58"/>
                <a:gd name="T72" fmla="*/ 29 w 58"/>
                <a:gd name="T73" fmla="*/ 0 h 58"/>
                <a:gd name="T74" fmla="*/ 29 w 58"/>
                <a:gd name="T7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8">
                  <a:moveTo>
                    <a:pt x="29" y="0"/>
                  </a:moveTo>
                  <a:lnTo>
                    <a:pt x="29" y="0"/>
                  </a:lnTo>
                  <a:lnTo>
                    <a:pt x="23" y="0"/>
                  </a:lnTo>
                  <a:lnTo>
                    <a:pt x="18" y="3"/>
                  </a:lnTo>
                  <a:lnTo>
                    <a:pt x="13" y="5"/>
                  </a:lnTo>
                  <a:lnTo>
                    <a:pt x="9" y="8"/>
                  </a:lnTo>
                  <a:lnTo>
                    <a:pt x="5" y="13"/>
                  </a:lnTo>
                  <a:lnTo>
                    <a:pt x="2" y="17"/>
                  </a:lnTo>
                  <a:lnTo>
                    <a:pt x="1" y="22"/>
                  </a:lnTo>
                  <a:lnTo>
                    <a:pt x="0" y="29"/>
                  </a:lnTo>
                  <a:lnTo>
                    <a:pt x="0" y="29"/>
                  </a:lnTo>
                  <a:lnTo>
                    <a:pt x="1" y="34"/>
                  </a:lnTo>
                  <a:lnTo>
                    <a:pt x="2" y="39"/>
                  </a:lnTo>
                  <a:lnTo>
                    <a:pt x="5" y="45"/>
                  </a:lnTo>
                  <a:lnTo>
                    <a:pt x="9" y="49"/>
                  </a:lnTo>
                  <a:lnTo>
                    <a:pt x="13" y="53"/>
                  </a:lnTo>
                  <a:lnTo>
                    <a:pt x="18" y="55"/>
                  </a:lnTo>
                  <a:lnTo>
                    <a:pt x="23" y="57"/>
                  </a:lnTo>
                  <a:lnTo>
                    <a:pt x="29" y="58"/>
                  </a:lnTo>
                  <a:lnTo>
                    <a:pt x="29" y="58"/>
                  </a:lnTo>
                  <a:lnTo>
                    <a:pt x="35" y="57"/>
                  </a:lnTo>
                  <a:lnTo>
                    <a:pt x="40" y="55"/>
                  </a:lnTo>
                  <a:lnTo>
                    <a:pt x="46" y="53"/>
                  </a:lnTo>
                  <a:lnTo>
                    <a:pt x="50" y="49"/>
                  </a:lnTo>
                  <a:lnTo>
                    <a:pt x="54" y="45"/>
                  </a:lnTo>
                  <a:lnTo>
                    <a:pt x="56" y="39"/>
                  </a:lnTo>
                  <a:lnTo>
                    <a:pt x="58" y="34"/>
                  </a:lnTo>
                  <a:lnTo>
                    <a:pt x="58" y="29"/>
                  </a:lnTo>
                  <a:lnTo>
                    <a:pt x="58" y="29"/>
                  </a:lnTo>
                  <a:lnTo>
                    <a:pt x="58" y="22"/>
                  </a:lnTo>
                  <a:lnTo>
                    <a:pt x="56" y="17"/>
                  </a:lnTo>
                  <a:lnTo>
                    <a:pt x="54" y="13"/>
                  </a:lnTo>
                  <a:lnTo>
                    <a:pt x="50" y="8"/>
                  </a:lnTo>
                  <a:lnTo>
                    <a:pt x="46" y="5"/>
                  </a:lnTo>
                  <a:lnTo>
                    <a:pt x="40" y="3"/>
                  </a:lnTo>
                  <a:lnTo>
                    <a:pt x="35" y="0"/>
                  </a:lnTo>
                  <a:lnTo>
                    <a:pt x="29" y="0"/>
                  </a:lnTo>
                  <a:lnTo>
                    <a:pt x="29" y="0"/>
                  </a:lnTo>
                  <a:close/>
                </a:path>
              </a:pathLst>
            </a:custGeom>
            <a:solidFill>
              <a:srgbClr val="0032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55" name="Freeform 19"/>
            <p:cNvSpPr>
              <a:spLocks/>
            </p:cNvSpPr>
            <p:nvPr/>
          </p:nvSpPr>
          <p:spPr bwMode="auto">
            <a:xfrm>
              <a:off x="3155951" y="4171950"/>
              <a:ext cx="92075" cy="92075"/>
            </a:xfrm>
            <a:custGeom>
              <a:avLst/>
              <a:gdLst>
                <a:gd name="T0" fmla="*/ 29 w 58"/>
                <a:gd name="T1" fmla="*/ 0 h 58"/>
                <a:gd name="T2" fmla="*/ 29 w 58"/>
                <a:gd name="T3" fmla="*/ 0 h 58"/>
                <a:gd name="T4" fmla="*/ 23 w 58"/>
                <a:gd name="T5" fmla="*/ 0 h 58"/>
                <a:gd name="T6" fmla="*/ 17 w 58"/>
                <a:gd name="T7" fmla="*/ 2 h 58"/>
                <a:gd name="T8" fmla="*/ 13 w 58"/>
                <a:gd name="T9" fmla="*/ 5 h 58"/>
                <a:gd name="T10" fmla="*/ 8 w 58"/>
                <a:gd name="T11" fmla="*/ 8 h 58"/>
                <a:gd name="T12" fmla="*/ 5 w 58"/>
                <a:gd name="T13" fmla="*/ 13 h 58"/>
                <a:gd name="T14" fmla="*/ 3 w 58"/>
                <a:gd name="T15" fmla="*/ 17 h 58"/>
                <a:gd name="T16" fmla="*/ 0 w 58"/>
                <a:gd name="T17" fmla="*/ 22 h 58"/>
                <a:gd name="T18" fmla="*/ 0 w 58"/>
                <a:gd name="T19" fmla="*/ 29 h 58"/>
                <a:gd name="T20" fmla="*/ 0 w 58"/>
                <a:gd name="T21" fmla="*/ 29 h 58"/>
                <a:gd name="T22" fmla="*/ 0 w 58"/>
                <a:gd name="T23" fmla="*/ 34 h 58"/>
                <a:gd name="T24" fmla="*/ 3 w 58"/>
                <a:gd name="T25" fmla="*/ 39 h 58"/>
                <a:gd name="T26" fmla="*/ 5 w 58"/>
                <a:gd name="T27" fmla="*/ 44 h 58"/>
                <a:gd name="T28" fmla="*/ 8 w 58"/>
                <a:gd name="T29" fmla="*/ 48 h 58"/>
                <a:gd name="T30" fmla="*/ 13 w 58"/>
                <a:gd name="T31" fmla="*/ 52 h 58"/>
                <a:gd name="T32" fmla="*/ 17 w 58"/>
                <a:gd name="T33" fmla="*/ 55 h 58"/>
                <a:gd name="T34" fmla="*/ 23 w 58"/>
                <a:gd name="T35" fmla="*/ 56 h 58"/>
                <a:gd name="T36" fmla="*/ 29 w 58"/>
                <a:gd name="T37" fmla="*/ 58 h 58"/>
                <a:gd name="T38" fmla="*/ 29 w 58"/>
                <a:gd name="T39" fmla="*/ 58 h 58"/>
                <a:gd name="T40" fmla="*/ 34 w 58"/>
                <a:gd name="T41" fmla="*/ 56 h 58"/>
                <a:gd name="T42" fmla="*/ 40 w 58"/>
                <a:gd name="T43" fmla="*/ 55 h 58"/>
                <a:gd name="T44" fmla="*/ 45 w 58"/>
                <a:gd name="T45" fmla="*/ 52 h 58"/>
                <a:gd name="T46" fmla="*/ 49 w 58"/>
                <a:gd name="T47" fmla="*/ 48 h 58"/>
                <a:gd name="T48" fmla="*/ 53 w 58"/>
                <a:gd name="T49" fmla="*/ 44 h 58"/>
                <a:gd name="T50" fmla="*/ 55 w 58"/>
                <a:gd name="T51" fmla="*/ 39 h 58"/>
                <a:gd name="T52" fmla="*/ 57 w 58"/>
                <a:gd name="T53" fmla="*/ 34 h 58"/>
                <a:gd name="T54" fmla="*/ 58 w 58"/>
                <a:gd name="T55" fmla="*/ 29 h 58"/>
                <a:gd name="T56" fmla="*/ 58 w 58"/>
                <a:gd name="T57" fmla="*/ 29 h 58"/>
                <a:gd name="T58" fmla="*/ 57 w 58"/>
                <a:gd name="T59" fmla="*/ 22 h 58"/>
                <a:gd name="T60" fmla="*/ 55 w 58"/>
                <a:gd name="T61" fmla="*/ 17 h 58"/>
                <a:gd name="T62" fmla="*/ 53 w 58"/>
                <a:gd name="T63" fmla="*/ 13 h 58"/>
                <a:gd name="T64" fmla="*/ 49 w 58"/>
                <a:gd name="T65" fmla="*/ 8 h 58"/>
                <a:gd name="T66" fmla="*/ 45 w 58"/>
                <a:gd name="T67" fmla="*/ 5 h 58"/>
                <a:gd name="T68" fmla="*/ 40 w 58"/>
                <a:gd name="T69" fmla="*/ 2 h 58"/>
                <a:gd name="T70" fmla="*/ 34 w 58"/>
                <a:gd name="T71" fmla="*/ 0 h 58"/>
                <a:gd name="T72" fmla="*/ 29 w 58"/>
                <a:gd name="T73" fmla="*/ 0 h 58"/>
                <a:gd name="T74" fmla="*/ 29 w 58"/>
                <a:gd name="T7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8">
                  <a:moveTo>
                    <a:pt x="29" y="0"/>
                  </a:moveTo>
                  <a:lnTo>
                    <a:pt x="29" y="0"/>
                  </a:lnTo>
                  <a:lnTo>
                    <a:pt x="23" y="0"/>
                  </a:lnTo>
                  <a:lnTo>
                    <a:pt x="17" y="2"/>
                  </a:lnTo>
                  <a:lnTo>
                    <a:pt x="13" y="5"/>
                  </a:lnTo>
                  <a:lnTo>
                    <a:pt x="8" y="8"/>
                  </a:lnTo>
                  <a:lnTo>
                    <a:pt x="5" y="13"/>
                  </a:lnTo>
                  <a:lnTo>
                    <a:pt x="3" y="17"/>
                  </a:lnTo>
                  <a:lnTo>
                    <a:pt x="0" y="22"/>
                  </a:lnTo>
                  <a:lnTo>
                    <a:pt x="0" y="29"/>
                  </a:lnTo>
                  <a:lnTo>
                    <a:pt x="0" y="29"/>
                  </a:lnTo>
                  <a:lnTo>
                    <a:pt x="0" y="34"/>
                  </a:lnTo>
                  <a:lnTo>
                    <a:pt x="3" y="39"/>
                  </a:lnTo>
                  <a:lnTo>
                    <a:pt x="5" y="44"/>
                  </a:lnTo>
                  <a:lnTo>
                    <a:pt x="8" y="48"/>
                  </a:lnTo>
                  <a:lnTo>
                    <a:pt x="13" y="52"/>
                  </a:lnTo>
                  <a:lnTo>
                    <a:pt x="17" y="55"/>
                  </a:lnTo>
                  <a:lnTo>
                    <a:pt x="23" y="56"/>
                  </a:lnTo>
                  <a:lnTo>
                    <a:pt x="29" y="58"/>
                  </a:lnTo>
                  <a:lnTo>
                    <a:pt x="29" y="58"/>
                  </a:lnTo>
                  <a:lnTo>
                    <a:pt x="34" y="56"/>
                  </a:lnTo>
                  <a:lnTo>
                    <a:pt x="40" y="55"/>
                  </a:lnTo>
                  <a:lnTo>
                    <a:pt x="45" y="52"/>
                  </a:lnTo>
                  <a:lnTo>
                    <a:pt x="49" y="48"/>
                  </a:lnTo>
                  <a:lnTo>
                    <a:pt x="53" y="44"/>
                  </a:lnTo>
                  <a:lnTo>
                    <a:pt x="55" y="39"/>
                  </a:lnTo>
                  <a:lnTo>
                    <a:pt x="57" y="34"/>
                  </a:lnTo>
                  <a:lnTo>
                    <a:pt x="58" y="29"/>
                  </a:lnTo>
                  <a:lnTo>
                    <a:pt x="58" y="29"/>
                  </a:lnTo>
                  <a:lnTo>
                    <a:pt x="57" y="22"/>
                  </a:lnTo>
                  <a:lnTo>
                    <a:pt x="55" y="17"/>
                  </a:lnTo>
                  <a:lnTo>
                    <a:pt x="53" y="13"/>
                  </a:lnTo>
                  <a:lnTo>
                    <a:pt x="49" y="8"/>
                  </a:lnTo>
                  <a:lnTo>
                    <a:pt x="45" y="5"/>
                  </a:lnTo>
                  <a:lnTo>
                    <a:pt x="40" y="2"/>
                  </a:lnTo>
                  <a:lnTo>
                    <a:pt x="34" y="0"/>
                  </a:lnTo>
                  <a:lnTo>
                    <a:pt x="29" y="0"/>
                  </a:lnTo>
                  <a:lnTo>
                    <a:pt x="29" y="0"/>
                  </a:lnTo>
                  <a:close/>
                </a:path>
              </a:pathLst>
            </a:custGeom>
            <a:solidFill>
              <a:srgbClr val="0032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56" name="Freeform 20"/>
            <p:cNvSpPr>
              <a:spLocks/>
            </p:cNvSpPr>
            <p:nvPr/>
          </p:nvSpPr>
          <p:spPr bwMode="auto">
            <a:xfrm>
              <a:off x="3155951" y="4292600"/>
              <a:ext cx="92075" cy="92075"/>
            </a:xfrm>
            <a:custGeom>
              <a:avLst/>
              <a:gdLst>
                <a:gd name="T0" fmla="*/ 29 w 58"/>
                <a:gd name="T1" fmla="*/ 0 h 58"/>
                <a:gd name="T2" fmla="*/ 29 w 58"/>
                <a:gd name="T3" fmla="*/ 0 h 58"/>
                <a:gd name="T4" fmla="*/ 23 w 58"/>
                <a:gd name="T5" fmla="*/ 1 h 58"/>
                <a:gd name="T6" fmla="*/ 17 w 58"/>
                <a:gd name="T7" fmla="*/ 3 h 58"/>
                <a:gd name="T8" fmla="*/ 13 w 58"/>
                <a:gd name="T9" fmla="*/ 5 h 58"/>
                <a:gd name="T10" fmla="*/ 8 w 58"/>
                <a:gd name="T11" fmla="*/ 9 h 58"/>
                <a:gd name="T12" fmla="*/ 5 w 58"/>
                <a:gd name="T13" fmla="*/ 13 h 58"/>
                <a:gd name="T14" fmla="*/ 3 w 58"/>
                <a:gd name="T15" fmla="*/ 19 h 58"/>
                <a:gd name="T16" fmla="*/ 0 w 58"/>
                <a:gd name="T17" fmla="*/ 24 h 58"/>
                <a:gd name="T18" fmla="*/ 0 w 58"/>
                <a:gd name="T19" fmla="*/ 29 h 58"/>
                <a:gd name="T20" fmla="*/ 0 w 58"/>
                <a:gd name="T21" fmla="*/ 29 h 58"/>
                <a:gd name="T22" fmla="*/ 0 w 58"/>
                <a:gd name="T23" fmla="*/ 36 h 58"/>
                <a:gd name="T24" fmla="*/ 3 w 58"/>
                <a:gd name="T25" fmla="*/ 41 h 58"/>
                <a:gd name="T26" fmla="*/ 5 w 58"/>
                <a:gd name="T27" fmla="*/ 46 h 58"/>
                <a:gd name="T28" fmla="*/ 8 w 58"/>
                <a:gd name="T29" fmla="*/ 50 h 58"/>
                <a:gd name="T30" fmla="*/ 13 w 58"/>
                <a:gd name="T31" fmla="*/ 54 h 58"/>
                <a:gd name="T32" fmla="*/ 17 w 58"/>
                <a:gd name="T33" fmla="*/ 57 h 58"/>
                <a:gd name="T34" fmla="*/ 23 w 58"/>
                <a:gd name="T35" fmla="*/ 58 h 58"/>
                <a:gd name="T36" fmla="*/ 29 w 58"/>
                <a:gd name="T37" fmla="*/ 58 h 58"/>
                <a:gd name="T38" fmla="*/ 29 w 58"/>
                <a:gd name="T39" fmla="*/ 58 h 58"/>
                <a:gd name="T40" fmla="*/ 34 w 58"/>
                <a:gd name="T41" fmla="*/ 58 h 58"/>
                <a:gd name="T42" fmla="*/ 40 w 58"/>
                <a:gd name="T43" fmla="*/ 57 h 58"/>
                <a:gd name="T44" fmla="*/ 45 w 58"/>
                <a:gd name="T45" fmla="*/ 54 h 58"/>
                <a:gd name="T46" fmla="*/ 49 w 58"/>
                <a:gd name="T47" fmla="*/ 50 h 58"/>
                <a:gd name="T48" fmla="*/ 53 w 58"/>
                <a:gd name="T49" fmla="*/ 46 h 58"/>
                <a:gd name="T50" fmla="*/ 55 w 58"/>
                <a:gd name="T51" fmla="*/ 41 h 58"/>
                <a:gd name="T52" fmla="*/ 57 w 58"/>
                <a:gd name="T53" fmla="*/ 36 h 58"/>
                <a:gd name="T54" fmla="*/ 58 w 58"/>
                <a:gd name="T55" fmla="*/ 29 h 58"/>
                <a:gd name="T56" fmla="*/ 58 w 58"/>
                <a:gd name="T57" fmla="*/ 29 h 58"/>
                <a:gd name="T58" fmla="*/ 57 w 58"/>
                <a:gd name="T59" fmla="*/ 24 h 58"/>
                <a:gd name="T60" fmla="*/ 55 w 58"/>
                <a:gd name="T61" fmla="*/ 19 h 58"/>
                <a:gd name="T62" fmla="*/ 53 w 58"/>
                <a:gd name="T63" fmla="*/ 13 h 58"/>
                <a:gd name="T64" fmla="*/ 49 w 58"/>
                <a:gd name="T65" fmla="*/ 9 h 58"/>
                <a:gd name="T66" fmla="*/ 45 w 58"/>
                <a:gd name="T67" fmla="*/ 5 h 58"/>
                <a:gd name="T68" fmla="*/ 40 w 58"/>
                <a:gd name="T69" fmla="*/ 3 h 58"/>
                <a:gd name="T70" fmla="*/ 34 w 58"/>
                <a:gd name="T71" fmla="*/ 1 h 58"/>
                <a:gd name="T72" fmla="*/ 29 w 58"/>
                <a:gd name="T73" fmla="*/ 0 h 58"/>
                <a:gd name="T74" fmla="*/ 29 w 58"/>
                <a:gd name="T7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8">
                  <a:moveTo>
                    <a:pt x="29" y="0"/>
                  </a:moveTo>
                  <a:lnTo>
                    <a:pt x="29" y="0"/>
                  </a:lnTo>
                  <a:lnTo>
                    <a:pt x="23" y="1"/>
                  </a:lnTo>
                  <a:lnTo>
                    <a:pt x="17" y="3"/>
                  </a:lnTo>
                  <a:lnTo>
                    <a:pt x="13" y="5"/>
                  </a:lnTo>
                  <a:lnTo>
                    <a:pt x="8" y="9"/>
                  </a:lnTo>
                  <a:lnTo>
                    <a:pt x="5" y="13"/>
                  </a:lnTo>
                  <a:lnTo>
                    <a:pt x="3" y="19"/>
                  </a:lnTo>
                  <a:lnTo>
                    <a:pt x="0" y="24"/>
                  </a:lnTo>
                  <a:lnTo>
                    <a:pt x="0" y="29"/>
                  </a:lnTo>
                  <a:lnTo>
                    <a:pt x="0" y="29"/>
                  </a:lnTo>
                  <a:lnTo>
                    <a:pt x="0" y="36"/>
                  </a:lnTo>
                  <a:lnTo>
                    <a:pt x="3" y="41"/>
                  </a:lnTo>
                  <a:lnTo>
                    <a:pt x="5" y="46"/>
                  </a:lnTo>
                  <a:lnTo>
                    <a:pt x="8" y="50"/>
                  </a:lnTo>
                  <a:lnTo>
                    <a:pt x="13" y="54"/>
                  </a:lnTo>
                  <a:lnTo>
                    <a:pt x="17" y="57"/>
                  </a:lnTo>
                  <a:lnTo>
                    <a:pt x="23" y="58"/>
                  </a:lnTo>
                  <a:lnTo>
                    <a:pt x="29" y="58"/>
                  </a:lnTo>
                  <a:lnTo>
                    <a:pt x="29" y="58"/>
                  </a:lnTo>
                  <a:lnTo>
                    <a:pt x="34" y="58"/>
                  </a:lnTo>
                  <a:lnTo>
                    <a:pt x="40" y="57"/>
                  </a:lnTo>
                  <a:lnTo>
                    <a:pt x="45" y="54"/>
                  </a:lnTo>
                  <a:lnTo>
                    <a:pt x="49" y="50"/>
                  </a:lnTo>
                  <a:lnTo>
                    <a:pt x="53" y="46"/>
                  </a:lnTo>
                  <a:lnTo>
                    <a:pt x="55" y="41"/>
                  </a:lnTo>
                  <a:lnTo>
                    <a:pt x="57" y="36"/>
                  </a:lnTo>
                  <a:lnTo>
                    <a:pt x="58" y="29"/>
                  </a:lnTo>
                  <a:lnTo>
                    <a:pt x="58" y="29"/>
                  </a:lnTo>
                  <a:lnTo>
                    <a:pt x="57" y="24"/>
                  </a:lnTo>
                  <a:lnTo>
                    <a:pt x="55" y="19"/>
                  </a:lnTo>
                  <a:lnTo>
                    <a:pt x="53" y="13"/>
                  </a:lnTo>
                  <a:lnTo>
                    <a:pt x="49" y="9"/>
                  </a:lnTo>
                  <a:lnTo>
                    <a:pt x="45" y="5"/>
                  </a:lnTo>
                  <a:lnTo>
                    <a:pt x="40" y="3"/>
                  </a:lnTo>
                  <a:lnTo>
                    <a:pt x="34" y="1"/>
                  </a:lnTo>
                  <a:lnTo>
                    <a:pt x="29" y="0"/>
                  </a:lnTo>
                  <a:lnTo>
                    <a:pt x="29" y="0"/>
                  </a:lnTo>
                  <a:close/>
                </a:path>
              </a:pathLst>
            </a:custGeom>
            <a:solidFill>
              <a:srgbClr val="0032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57" name="Freeform 21"/>
            <p:cNvSpPr>
              <a:spLocks/>
            </p:cNvSpPr>
            <p:nvPr/>
          </p:nvSpPr>
          <p:spPr bwMode="auto">
            <a:xfrm>
              <a:off x="3155951" y="4416425"/>
              <a:ext cx="92075" cy="92075"/>
            </a:xfrm>
            <a:custGeom>
              <a:avLst/>
              <a:gdLst>
                <a:gd name="T0" fmla="*/ 29 w 58"/>
                <a:gd name="T1" fmla="*/ 0 h 58"/>
                <a:gd name="T2" fmla="*/ 29 w 58"/>
                <a:gd name="T3" fmla="*/ 0 h 58"/>
                <a:gd name="T4" fmla="*/ 23 w 58"/>
                <a:gd name="T5" fmla="*/ 0 h 58"/>
                <a:gd name="T6" fmla="*/ 17 w 58"/>
                <a:gd name="T7" fmla="*/ 3 h 58"/>
                <a:gd name="T8" fmla="*/ 13 w 58"/>
                <a:gd name="T9" fmla="*/ 5 h 58"/>
                <a:gd name="T10" fmla="*/ 8 w 58"/>
                <a:gd name="T11" fmla="*/ 8 h 58"/>
                <a:gd name="T12" fmla="*/ 5 w 58"/>
                <a:gd name="T13" fmla="*/ 13 h 58"/>
                <a:gd name="T14" fmla="*/ 3 w 58"/>
                <a:gd name="T15" fmla="*/ 17 h 58"/>
                <a:gd name="T16" fmla="*/ 0 w 58"/>
                <a:gd name="T17" fmla="*/ 22 h 58"/>
                <a:gd name="T18" fmla="*/ 0 w 58"/>
                <a:gd name="T19" fmla="*/ 29 h 58"/>
                <a:gd name="T20" fmla="*/ 0 w 58"/>
                <a:gd name="T21" fmla="*/ 29 h 58"/>
                <a:gd name="T22" fmla="*/ 0 w 58"/>
                <a:gd name="T23" fmla="*/ 34 h 58"/>
                <a:gd name="T24" fmla="*/ 3 w 58"/>
                <a:gd name="T25" fmla="*/ 39 h 58"/>
                <a:gd name="T26" fmla="*/ 5 w 58"/>
                <a:gd name="T27" fmla="*/ 45 h 58"/>
                <a:gd name="T28" fmla="*/ 8 w 58"/>
                <a:gd name="T29" fmla="*/ 49 h 58"/>
                <a:gd name="T30" fmla="*/ 13 w 58"/>
                <a:gd name="T31" fmla="*/ 53 h 58"/>
                <a:gd name="T32" fmla="*/ 17 w 58"/>
                <a:gd name="T33" fmla="*/ 55 h 58"/>
                <a:gd name="T34" fmla="*/ 23 w 58"/>
                <a:gd name="T35" fmla="*/ 57 h 58"/>
                <a:gd name="T36" fmla="*/ 29 w 58"/>
                <a:gd name="T37" fmla="*/ 58 h 58"/>
                <a:gd name="T38" fmla="*/ 29 w 58"/>
                <a:gd name="T39" fmla="*/ 58 h 58"/>
                <a:gd name="T40" fmla="*/ 34 w 58"/>
                <a:gd name="T41" fmla="*/ 57 h 58"/>
                <a:gd name="T42" fmla="*/ 40 w 58"/>
                <a:gd name="T43" fmla="*/ 55 h 58"/>
                <a:gd name="T44" fmla="*/ 45 w 58"/>
                <a:gd name="T45" fmla="*/ 53 h 58"/>
                <a:gd name="T46" fmla="*/ 49 w 58"/>
                <a:gd name="T47" fmla="*/ 49 h 58"/>
                <a:gd name="T48" fmla="*/ 53 w 58"/>
                <a:gd name="T49" fmla="*/ 45 h 58"/>
                <a:gd name="T50" fmla="*/ 55 w 58"/>
                <a:gd name="T51" fmla="*/ 39 h 58"/>
                <a:gd name="T52" fmla="*/ 57 w 58"/>
                <a:gd name="T53" fmla="*/ 34 h 58"/>
                <a:gd name="T54" fmla="*/ 58 w 58"/>
                <a:gd name="T55" fmla="*/ 29 h 58"/>
                <a:gd name="T56" fmla="*/ 58 w 58"/>
                <a:gd name="T57" fmla="*/ 29 h 58"/>
                <a:gd name="T58" fmla="*/ 57 w 58"/>
                <a:gd name="T59" fmla="*/ 22 h 58"/>
                <a:gd name="T60" fmla="*/ 55 w 58"/>
                <a:gd name="T61" fmla="*/ 17 h 58"/>
                <a:gd name="T62" fmla="*/ 53 w 58"/>
                <a:gd name="T63" fmla="*/ 13 h 58"/>
                <a:gd name="T64" fmla="*/ 49 w 58"/>
                <a:gd name="T65" fmla="*/ 8 h 58"/>
                <a:gd name="T66" fmla="*/ 45 w 58"/>
                <a:gd name="T67" fmla="*/ 5 h 58"/>
                <a:gd name="T68" fmla="*/ 40 w 58"/>
                <a:gd name="T69" fmla="*/ 3 h 58"/>
                <a:gd name="T70" fmla="*/ 34 w 58"/>
                <a:gd name="T71" fmla="*/ 0 h 58"/>
                <a:gd name="T72" fmla="*/ 29 w 58"/>
                <a:gd name="T73" fmla="*/ 0 h 58"/>
                <a:gd name="T74" fmla="*/ 29 w 58"/>
                <a:gd name="T7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8">
                  <a:moveTo>
                    <a:pt x="29" y="0"/>
                  </a:moveTo>
                  <a:lnTo>
                    <a:pt x="29" y="0"/>
                  </a:lnTo>
                  <a:lnTo>
                    <a:pt x="23" y="0"/>
                  </a:lnTo>
                  <a:lnTo>
                    <a:pt x="17" y="3"/>
                  </a:lnTo>
                  <a:lnTo>
                    <a:pt x="13" y="5"/>
                  </a:lnTo>
                  <a:lnTo>
                    <a:pt x="8" y="8"/>
                  </a:lnTo>
                  <a:lnTo>
                    <a:pt x="5" y="13"/>
                  </a:lnTo>
                  <a:lnTo>
                    <a:pt x="3" y="17"/>
                  </a:lnTo>
                  <a:lnTo>
                    <a:pt x="0" y="22"/>
                  </a:lnTo>
                  <a:lnTo>
                    <a:pt x="0" y="29"/>
                  </a:lnTo>
                  <a:lnTo>
                    <a:pt x="0" y="29"/>
                  </a:lnTo>
                  <a:lnTo>
                    <a:pt x="0" y="34"/>
                  </a:lnTo>
                  <a:lnTo>
                    <a:pt x="3" y="39"/>
                  </a:lnTo>
                  <a:lnTo>
                    <a:pt x="5" y="45"/>
                  </a:lnTo>
                  <a:lnTo>
                    <a:pt x="8" y="49"/>
                  </a:lnTo>
                  <a:lnTo>
                    <a:pt x="13" y="53"/>
                  </a:lnTo>
                  <a:lnTo>
                    <a:pt x="17" y="55"/>
                  </a:lnTo>
                  <a:lnTo>
                    <a:pt x="23" y="57"/>
                  </a:lnTo>
                  <a:lnTo>
                    <a:pt x="29" y="58"/>
                  </a:lnTo>
                  <a:lnTo>
                    <a:pt x="29" y="58"/>
                  </a:lnTo>
                  <a:lnTo>
                    <a:pt x="34" y="57"/>
                  </a:lnTo>
                  <a:lnTo>
                    <a:pt x="40" y="55"/>
                  </a:lnTo>
                  <a:lnTo>
                    <a:pt x="45" y="53"/>
                  </a:lnTo>
                  <a:lnTo>
                    <a:pt x="49" y="49"/>
                  </a:lnTo>
                  <a:lnTo>
                    <a:pt x="53" y="45"/>
                  </a:lnTo>
                  <a:lnTo>
                    <a:pt x="55" y="39"/>
                  </a:lnTo>
                  <a:lnTo>
                    <a:pt x="57" y="34"/>
                  </a:lnTo>
                  <a:lnTo>
                    <a:pt x="58" y="29"/>
                  </a:lnTo>
                  <a:lnTo>
                    <a:pt x="58" y="29"/>
                  </a:lnTo>
                  <a:lnTo>
                    <a:pt x="57" y="22"/>
                  </a:lnTo>
                  <a:lnTo>
                    <a:pt x="55" y="17"/>
                  </a:lnTo>
                  <a:lnTo>
                    <a:pt x="53" y="13"/>
                  </a:lnTo>
                  <a:lnTo>
                    <a:pt x="49" y="8"/>
                  </a:lnTo>
                  <a:lnTo>
                    <a:pt x="45" y="5"/>
                  </a:lnTo>
                  <a:lnTo>
                    <a:pt x="40" y="3"/>
                  </a:lnTo>
                  <a:lnTo>
                    <a:pt x="34" y="0"/>
                  </a:lnTo>
                  <a:lnTo>
                    <a:pt x="29" y="0"/>
                  </a:lnTo>
                  <a:lnTo>
                    <a:pt x="29" y="0"/>
                  </a:lnTo>
                  <a:close/>
                </a:path>
              </a:pathLst>
            </a:custGeom>
            <a:solidFill>
              <a:srgbClr val="0032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grpSp>
      <p:grpSp>
        <p:nvGrpSpPr>
          <p:cNvPr id="58" name="Группа 57"/>
          <p:cNvGrpSpPr/>
          <p:nvPr/>
        </p:nvGrpSpPr>
        <p:grpSpPr>
          <a:xfrm>
            <a:off x="2068215" y="2710467"/>
            <a:ext cx="248857" cy="554810"/>
            <a:chOff x="5294313" y="5262563"/>
            <a:chExt cx="366713" cy="817562"/>
          </a:xfrm>
          <a:solidFill>
            <a:schemeClr val="accent2">
              <a:lumMod val="75000"/>
            </a:schemeClr>
          </a:solidFill>
        </p:grpSpPr>
        <p:sp>
          <p:nvSpPr>
            <p:cNvPr id="59" name="Freeform 23"/>
            <p:cNvSpPr>
              <a:spLocks/>
            </p:cNvSpPr>
            <p:nvPr/>
          </p:nvSpPr>
          <p:spPr bwMode="auto">
            <a:xfrm>
              <a:off x="5340351" y="5262563"/>
              <a:ext cx="273050" cy="115888"/>
            </a:xfrm>
            <a:custGeom>
              <a:avLst/>
              <a:gdLst>
                <a:gd name="T0" fmla="*/ 86 w 172"/>
                <a:gd name="T1" fmla="*/ 73 h 73"/>
                <a:gd name="T2" fmla="*/ 86 w 172"/>
                <a:gd name="T3" fmla="*/ 73 h 73"/>
                <a:gd name="T4" fmla="*/ 103 w 172"/>
                <a:gd name="T5" fmla="*/ 73 h 73"/>
                <a:gd name="T6" fmla="*/ 119 w 172"/>
                <a:gd name="T7" fmla="*/ 71 h 73"/>
                <a:gd name="T8" fmla="*/ 133 w 172"/>
                <a:gd name="T9" fmla="*/ 67 h 73"/>
                <a:gd name="T10" fmla="*/ 147 w 172"/>
                <a:gd name="T11" fmla="*/ 63 h 73"/>
                <a:gd name="T12" fmla="*/ 157 w 172"/>
                <a:gd name="T13" fmla="*/ 58 h 73"/>
                <a:gd name="T14" fmla="*/ 165 w 172"/>
                <a:gd name="T15" fmla="*/ 51 h 73"/>
                <a:gd name="T16" fmla="*/ 170 w 172"/>
                <a:gd name="T17" fmla="*/ 44 h 73"/>
                <a:gd name="T18" fmla="*/ 172 w 172"/>
                <a:gd name="T19" fmla="*/ 40 h 73"/>
                <a:gd name="T20" fmla="*/ 172 w 172"/>
                <a:gd name="T21" fmla="*/ 36 h 73"/>
                <a:gd name="T22" fmla="*/ 172 w 172"/>
                <a:gd name="T23" fmla="*/ 36 h 73"/>
                <a:gd name="T24" fmla="*/ 172 w 172"/>
                <a:gd name="T25" fmla="*/ 32 h 73"/>
                <a:gd name="T26" fmla="*/ 170 w 172"/>
                <a:gd name="T27" fmla="*/ 29 h 73"/>
                <a:gd name="T28" fmla="*/ 165 w 172"/>
                <a:gd name="T29" fmla="*/ 22 h 73"/>
                <a:gd name="T30" fmla="*/ 157 w 172"/>
                <a:gd name="T31" fmla="*/ 15 h 73"/>
                <a:gd name="T32" fmla="*/ 147 w 172"/>
                <a:gd name="T33" fmla="*/ 10 h 73"/>
                <a:gd name="T34" fmla="*/ 133 w 172"/>
                <a:gd name="T35" fmla="*/ 6 h 73"/>
                <a:gd name="T36" fmla="*/ 119 w 172"/>
                <a:gd name="T37" fmla="*/ 2 h 73"/>
                <a:gd name="T38" fmla="*/ 103 w 172"/>
                <a:gd name="T39" fmla="*/ 1 h 73"/>
                <a:gd name="T40" fmla="*/ 86 w 172"/>
                <a:gd name="T41" fmla="*/ 0 h 73"/>
                <a:gd name="T42" fmla="*/ 86 w 172"/>
                <a:gd name="T43" fmla="*/ 0 h 73"/>
                <a:gd name="T44" fmla="*/ 69 w 172"/>
                <a:gd name="T45" fmla="*/ 1 h 73"/>
                <a:gd name="T46" fmla="*/ 53 w 172"/>
                <a:gd name="T47" fmla="*/ 2 h 73"/>
                <a:gd name="T48" fmla="*/ 38 w 172"/>
                <a:gd name="T49" fmla="*/ 6 h 73"/>
                <a:gd name="T50" fmla="*/ 25 w 172"/>
                <a:gd name="T51" fmla="*/ 10 h 73"/>
                <a:gd name="T52" fmla="*/ 15 w 172"/>
                <a:gd name="T53" fmla="*/ 15 h 73"/>
                <a:gd name="T54" fmla="*/ 7 w 172"/>
                <a:gd name="T55" fmla="*/ 22 h 73"/>
                <a:gd name="T56" fmla="*/ 2 w 172"/>
                <a:gd name="T57" fmla="*/ 29 h 73"/>
                <a:gd name="T58" fmla="*/ 0 w 172"/>
                <a:gd name="T59" fmla="*/ 32 h 73"/>
                <a:gd name="T60" fmla="*/ 0 w 172"/>
                <a:gd name="T61" fmla="*/ 36 h 73"/>
                <a:gd name="T62" fmla="*/ 0 w 172"/>
                <a:gd name="T63" fmla="*/ 36 h 73"/>
                <a:gd name="T64" fmla="*/ 0 w 172"/>
                <a:gd name="T65" fmla="*/ 40 h 73"/>
                <a:gd name="T66" fmla="*/ 2 w 172"/>
                <a:gd name="T67" fmla="*/ 44 h 73"/>
                <a:gd name="T68" fmla="*/ 7 w 172"/>
                <a:gd name="T69" fmla="*/ 51 h 73"/>
                <a:gd name="T70" fmla="*/ 15 w 172"/>
                <a:gd name="T71" fmla="*/ 58 h 73"/>
                <a:gd name="T72" fmla="*/ 25 w 172"/>
                <a:gd name="T73" fmla="*/ 63 h 73"/>
                <a:gd name="T74" fmla="*/ 38 w 172"/>
                <a:gd name="T75" fmla="*/ 67 h 73"/>
                <a:gd name="T76" fmla="*/ 53 w 172"/>
                <a:gd name="T77" fmla="*/ 71 h 73"/>
                <a:gd name="T78" fmla="*/ 69 w 172"/>
                <a:gd name="T79" fmla="*/ 73 h 73"/>
                <a:gd name="T80" fmla="*/ 86 w 172"/>
                <a:gd name="T81" fmla="*/ 73 h 73"/>
                <a:gd name="T82" fmla="*/ 86 w 172"/>
                <a:gd name="T8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2" h="73">
                  <a:moveTo>
                    <a:pt x="86" y="73"/>
                  </a:moveTo>
                  <a:lnTo>
                    <a:pt x="86" y="73"/>
                  </a:lnTo>
                  <a:lnTo>
                    <a:pt x="103" y="73"/>
                  </a:lnTo>
                  <a:lnTo>
                    <a:pt x="119" y="71"/>
                  </a:lnTo>
                  <a:lnTo>
                    <a:pt x="133" y="67"/>
                  </a:lnTo>
                  <a:lnTo>
                    <a:pt x="147" y="63"/>
                  </a:lnTo>
                  <a:lnTo>
                    <a:pt x="157" y="58"/>
                  </a:lnTo>
                  <a:lnTo>
                    <a:pt x="165" y="51"/>
                  </a:lnTo>
                  <a:lnTo>
                    <a:pt x="170" y="44"/>
                  </a:lnTo>
                  <a:lnTo>
                    <a:pt x="172" y="40"/>
                  </a:lnTo>
                  <a:lnTo>
                    <a:pt x="172" y="36"/>
                  </a:lnTo>
                  <a:lnTo>
                    <a:pt x="172" y="36"/>
                  </a:lnTo>
                  <a:lnTo>
                    <a:pt x="172" y="32"/>
                  </a:lnTo>
                  <a:lnTo>
                    <a:pt x="170" y="29"/>
                  </a:lnTo>
                  <a:lnTo>
                    <a:pt x="165" y="22"/>
                  </a:lnTo>
                  <a:lnTo>
                    <a:pt x="157" y="15"/>
                  </a:lnTo>
                  <a:lnTo>
                    <a:pt x="147" y="10"/>
                  </a:lnTo>
                  <a:lnTo>
                    <a:pt x="133" y="6"/>
                  </a:lnTo>
                  <a:lnTo>
                    <a:pt x="119" y="2"/>
                  </a:lnTo>
                  <a:lnTo>
                    <a:pt x="103" y="1"/>
                  </a:lnTo>
                  <a:lnTo>
                    <a:pt x="86" y="0"/>
                  </a:lnTo>
                  <a:lnTo>
                    <a:pt x="86" y="0"/>
                  </a:lnTo>
                  <a:lnTo>
                    <a:pt x="69" y="1"/>
                  </a:lnTo>
                  <a:lnTo>
                    <a:pt x="53" y="2"/>
                  </a:lnTo>
                  <a:lnTo>
                    <a:pt x="38" y="6"/>
                  </a:lnTo>
                  <a:lnTo>
                    <a:pt x="25" y="10"/>
                  </a:lnTo>
                  <a:lnTo>
                    <a:pt x="15" y="15"/>
                  </a:lnTo>
                  <a:lnTo>
                    <a:pt x="7" y="22"/>
                  </a:lnTo>
                  <a:lnTo>
                    <a:pt x="2" y="29"/>
                  </a:lnTo>
                  <a:lnTo>
                    <a:pt x="0" y="32"/>
                  </a:lnTo>
                  <a:lnTo>
                    <a:pt x="0" y="36"/>
                  </a:lnTo>
                  <a:lnTo>
                    <a:pt x="0" y="36"/>
                  </a:lnTo>
                  <a:lnTo>
                    <a:pt x="0" y="40"/>
                  </a:lnTo>
                  <a:lnTo>
                    <a:pt x="2" y="44"/>
                  </a:lnTo>
                  <a:lnTo>
                    <a:pt x="7" y="51"/>
                  </a:lnTo>
                  <a:lnTo>
                    <a:pt x="15" y="58"/>
                  </a:lnTo>
                  <a:lnTo>
                    <a:pt x="25" y="63"/>
                  </a:lnTo>
                  <a:lnTo>
                    <a:pt x="38" y="67"/>
                  </a:lnTo>
                  <a:lnTo>
                    <a:pt x="53" y="71"/>
                  </a:lnTo>
                  <a:lnTo>
                    <a:pt x="69" y="73"/>
                  </a:lnTo>
                  <a:lnTo>
                    <a:pt x="86" y="73"/>
                  </a:lnTo>
                  <a:lnTo>
                    <a:pt x="86"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60" name="Freeform 24"/>
            <p:cNvSpPr>
              <a:spLocks noEditPoints="1"/>
            </p:cNvSpPr>
            <p:nvPr/>
          </p:nvSpPr>
          <p:spPr bwMode="auto">
            <a:xfrm>
              <a:off x="5308601" y="5345113"/>
              <a:ext cx="334963" cy="174625"/>
            </a:xfrm>
            <a:custGeom>
              <a:avLst/>
              <a:gdLst>
                <a:gd name="T0" fmla="*/ 10 w 211"/>
                <a:gd name="T1" fmla="*/ 81 h 110"/>
                <a:gd name="T2" fmla="*/ 64 w 211"/>
                <a:gd name="T3" fmla="*/ 108 h 110"/>
                <a:gd name="T4" fmla="*/ 64 w 211"/>
                <a:gd name="T5" fmla="*/ 108 h 110"/>
                <a:gd name="T6" fmla="*/ 64 w 211"/>
                <a:gd name="T7" fmla="*/ 108 h 110"/>
                <a:gd name="T8" fmla="*/ 66 w 211"/>
                <a:gd name="T9" fmla="*/ 110 h 110"/>
                <a:gd name="T10" fmla="*/ 145 w 211"/>
                <a:gd name="T11" fmla="*/ 110 h 110"/>
                <a:gd name="T12" fmla="*/ 145 w 211"/>
                <a:gd name="T13" fmla="*/ 110 h 110"/>
                <a:gd name="T14" fmla="*/ 148 w 211"/>
                <a:gd name="T15" fmla="*/ 108 h 110"/>
                <a:gd name="T16" fmla="*/ 148 w 211"/>
                <a:gd name="T17" fmla="*/ 108 h 110"/>
                <a:gd name="T18" fmla="*/ 202 w 211"/>
                <a:gd name="T19" fmla="*/ 81 h 110"/>
                <a:gd name="T20" fmla="*/ 202 w 211"/>
                <a:gd name="T21" fmla="*/ 57 h 110"/>
                <a:gd name="T22" fmla="*/ 211 w 211"/>
                <a:gd name="T23" fmla="*/ 57 h 110"/>
                <a:gd name="T24" fmla="*/ 211 w 211"/>
                <a:gd name="T25" fmla="*/ 27 h 110"/>
                <a:gd name="T26" fmla="*/ 202 w 211"/>
                <a:gd name="T27" fmla="*/ 27 h 110"/>
                <a:gd name="T28" fmla="*/ 202 w 211"/>
                <a:gd name="T29" fmla="*/ 0 h 110"/>
                <a:gd name="T30" fmla="*/ 144 w 211"/>
                <a:gd name="T31" fmla="*/ 31 h 110"/>
                <a:gd name="T32" fmla="*/ 68 w 211"/>
                <a:gd name="T33" fmla="*/ 31 h 110"/>
                <a:gd name="T34" fmla="*/ 10 w 211"/>
                <a:gd name="T35" fmla="*/ 0 h 110"/>
                <a:gd name="T36" fmla="*/ 10 w 211"/>
                <a:gd name="T37" fmla="*/ 27 h 110"/>
                <a:gd name="T38" fmla="*/ 0 w 211"/>
                <a:gd name="T39" fmla="*/ 27 h 110"/>
                <a:gd name="T40" fmla="*/ 0 w 211"/>
                <a:gd name="T41" fmla="*/ 57 h 110"/>
                <a:gd name="T42" fmla="*/ 10 w 211"/>
                <a:gd name="T43" fmla="*/ 57 h 110"/>
                <a:gd name="T44" fmla="*/ 10 w 211"/>
                <a:gd name="T45" fmla="*/ 81 h 110"/>
                <a:gd name="T46" fmla="*/ 189 w 211"/>
                <a:gd name="T47" fmla="*/ 73 h 110"/>
                <a:gd name="T48" fmla="*/ 152 w 211"/>
                <a:gd name="T49" fmla="*/ 93 h 110"/>
                <a:gd name="T50" fmla="*/ 152 w 211"/>
                <a:gd name="T51" fmla="*/ 41 h 110"/>
                <a:gd name="T52" fmla="*/ 189 w 211"/>
                <a:gd name="T53" fmla="*/ 21 h 110"/>
                <a:gd name="T54" fmla="*/ 189 w 211"/>
                <a:gd name="T55" fmla="*/ 73 h 110"/>
                <a:gd name="T56" fmla="*/ 73 w 211"/>
                <a:gd name="T57" fmla="*/ 44 h 110"/>
                <a:gd name="T58" fmla="*/ 139 w 211"/>
                <a:gd name="T59" fmla="*/ 44 h 110"/>
                <a:gd name="T60" fmla="*/ 139 w 211"/>
                <a:gd name="T61" fmla="*/ 96 h 110"/>
                <a:gd name="T62" fmla="*/ 73 w 211"/>
                <a:gd name="T63" fmla="*/ 96 h 110"/>
                <a:gd name="T64" fmla="*/ 73 w 211"/>
                <a:gd name="T65" fmla="*/ 44 h 110"/>
                <a:gd name="T66" fmla="*/ 23 w 211"/>
                <a:gd name="T67" fmla="*/ 21 h 110"/>
                <a:gd name="T68" fmla="*/ 60 w 211"/>
                <a:gd name="T69" fmla="*/ 41 h 110"/>
                <a:gd name="T70" fmla="*/ 60 w 211"/>
                <a:gd name="T71" fmla="*/ 93 h 110"/>
                <a:gd name="T72" fmla="*/ 23 w 211"/>
                <a:gd name="T73" fmla="*/ 73 h 110"/>
                <a:gd name="T74" fmla="*/ 23 w 211"/>
                <a:gd name="T75" fmla="*/ 2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1" h="110">
                  <a:moveTo>
                    <a:pt x="10" y="81"/>
                  </a:moveTo>
                  <a:lnTo>
                    <a:pt x="64" y="108"/>
                  </a:lnTo>
                  <a:lnTo>
                    <a:pt x="64" y="108"/>
                  </a:lnTo>
                  <a:lnTo>
                    <a:pt x="64" y="108"/>
                  </a:lnTo>
                  <a:lnTo>
                    <a:pt x="66" y="110"/>
                  </a:lnTo>
                  <a:lnTo>
                    <a:pt x="145" y="110"/>
                  </a:lnTo>
                  <a:lnTo>
                    <a:pt x="145" y="110"/>
                  </a:lnTo>
                  <a:lnTo>
                    <a:pt x="148" y="108"/>
                  </a:lnTo>
                  <a:lnTo>
                    <a:pt x="148" y="108"/>
                  </a:lnTo>
                  <a:lnTo>
                    <a:pt x="202" y="81"/>
                  </a:lnTo>
                  <a:lnTo>
                    <a:pt x="202" y="57"/>
                  </a:lnTo>
                  <a:lnTo>
                    <a:pt x="211" y="57"/>
                  </a:lnTo>
                  <a:lnTo>
                    <a:pt x="211" y="27"/>
                  </a:lnTo>
                  <a:lnTo>
                    <a:pt x="202" y="27"/>
                  </a:lnTo>
                  <a:lnTo>
                    <a:pt x="202" y="0"/>
                  </a:lnTo>
                  <a:lnTo>
                    <a:pt x="144" y="31"/>
                  </a:lnTo>
                  <a:lnTo>
                    <a:pt x="68" y="31"/>
                  </a:lnTo>
                  <a:lnTo>
                    <a:pt x="10" y="0"/>
                  </a:lnTo>
                  <a:lnTo>
                    <a:pt x="10" y="27"/>
                  </a:lnTo>
                  <a:lnTo>
                    <a:pt x="0" y="27"/>
                  </a:lnTo>
                  <a:lnTo>
                    <a:pt x="0" y="57"/>
                  </a:lnTo>
                  <a:lnTo>
                    <a:pt x="10" y="57"/>
                  </a:lnTo>
                  <a:lnTo>
                    <a:pt x="10" y="81"/>
                  </a:lnTo>
                  <a:close/>
                  <a:moveTo>
                    <a:pt x="189" y="73"/>
                  </a:moveTo>
                  <a:lnTo>
                    <a:pt x="152" y="93"/>
                  </a:lnTo>
                  <a:lnTo>
                    <a:pt x="152" y="41"/>
                  </a:lnTo>
                  <a:lnTo>
                    <a:pt x="189" y="21"/>
                  </a:lnTo>
                  <a:lnTo>
                    <a:pt x="189" y="73"/>
                  </a:lnTo>
                  <a:close/>
                  <a:moveTo>
                    <a:pt x="73" y="44"/>
                  </a:moveTo>
                  <a:lnTo>
                    <a:pt x="139" y="44"/>
                  </a:lnTo>
                  <a:lnTo>
                    <a:pt x="139" y="96"/>
                  </a:lnTo>
                  <a:lnTo>
                    <a:pt x="73" y="96"/>
                  </a:lnTo>
                  <a:lnTo>
                    <a:pt x="73" y="44"/>
                  </a:lnTo>
                  <a:close/>
                  <a:moveTo>
                    <a:pt x="23" y="21"/>
                  </a:moveTo>
                  <a:lnTo>
                    <a:pt x="60" y="41"/>
                  </a:lnTo>
                  <a:lnTo>
                    <a:pt x="60" y="93"/>
                  </a:lnTo>
                  <a:lnTo>
                    <a:pt x="23" y="73"/>
                  </a:lnTo>
                  <a:lnTo>
                    <a:pt x="23"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61" name="Freeform 25"/>
            <p:cNvSpPr>
              <a:spLocks/>
            </p:cNvSpPr>
            <p:nvPr/>
          </p:nvSpPr>
          <p:spPr bwMode="auto">
            <a:xfrm>
              <a:off x="5453063" y="5427663"/>
              <a:ext cx="46038" cy="47625"/>
            </a:xfrm>
            <a:custGeom>
              <a:avLst/>
              <a:gdLst>
                <a:gd name="T0" fmla="*/ 15 w 29"/>
                <a:gd name="T1" fmla="*/ 0 h 30"/>
                <a:gd name="T2" fmla="*/ 15 w 29"/>
                <a:gd name="T3" fmla="*/ 0 h 30"/>
                <a:gd name="T4" fmla="*/ 10 w 29"/>
                <a:gd name="T5" fmla="*/ 1 h 30"/>
                <a:gd name="T6" fmla="*/ 4 w 29"/>
                <a:gd name="T7" fmla="*/ 5 h 30"/>
                <a:gd name="T8" fmla="*/ 0 w 29"/>
                <a:gd name="T9" fmla="*/ 9 h 30"/>
                <a:gd name="T10" fmla="*/ 0 w 29"/>
                <a:gd name="T11" fmla="*/ 15 h 30"/>
                <a:gd name="T12" fmla="*/ 0 w 29"/>
                <a:gd name="T13" fmla="*/ 15 h 30"/>
                <a:gd name="T14" fmla="*/ 0 w 29"/>
                <a:gd name="T15" fmla="*/ 21 h 30"/>
                <a:gd name="T16" fmla="*/ 4 w 29"/>
                <a:gd name="T17" fmla="*/ 26 h 30"/>
                <a:gd name="T18" fmla="*/ 10 w 29"/>
                <a:gd name="T19" fmla="*/ 29 h 30"/>
                <a:gd name="T20" fmla="*/ 15 w 29"/>
                <a:gd name="T21" fmla="*/ 30 h 30"/>
                <a:gd name="T22" fmla="*/ 15 w 29"/>
                <a:gd name="T23" fmla="*/ 30 h 30"/>
                <a:gd name="T24" fmla="*/ 20 w 29"/>
                <a:gd name="T25" fmla="*/ 29 h 30"/>
                <a:gd name="T26" fmla="*/ 25 w 29"/>
                <a:gd name="T27" fmla="*/ 26 h 30"/>
                <a:gd name="T28" fmla="*/ 29 w 29"/>
                <a:gd name="T29" fmla="*/ 21 h 30"/>
                <a:gd name="T30" fmla="*/ 29 w 29"/>
                <a:gd name="T31" fmla="*/ 15 h 30"/>
                <a:gd name="T32" fmla="*/ 29 w 29"/>
                <a:gd name="T33" fmla="*/ 15 h 30"/>
                <a:gd name="T34" fmla="*/ 29 w 29"/>
                <a:gd name="T35" fmla="*/ 9 h 30"/>
                <a:gd name="T36" fmla="*/ 25 w 29"/>
                <a:gd name="T37" fmla="*/ 5 h 30"/>
                <a:gd name="T38" fmla="*/ 20 w 29"/>
                <a:gd name="T39" fmla="*/ 1 h 30"/>
                <a:gd name="T40" fmla="*/ 15 w 29"/>
                <a:gd name="T41" fmla="*/ 0 h 30"/>
                <a:gd name="T42" fmla="*/ 15 w 29"/>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0">
                  <a:moveTo>
                    <a:pt x="15" y="0"/>
                  </a:moveTo>
                  <a:lnTo>
                    <a:pt x="15" y="0"/>
                  </a:lnTo>
                  <a:lnTo>
                    <a:pt x="10" y="1"/>
                  </a:lnTo>
                  <a:lnTo>
                    <a:pt x="4" y="5"/>
                  </a:lnTo>
                  <a:lnTo>
                    <a:pt x="0" y="9"/>
                  </a:lnTo>
                  <a:lnTo>
                    <a:pt x="0" y="15"/>
                  </a:lnTo>
                  <a:lnTo>
                    <a:pt x="0" y="15"/>
                  </a:lnTo>
                  <a:lnTo>
                    <a:pt x="0" y="21"/>
                  </a:lnTo>
                  <a:lnTo>
                    <a:pt x="4" y="26"/>
                  </a:lnTo>
                  <a:lnTo>
                    <a:pt x="10" y="29"/>
                  </a:lnTo>
                  <a:lnTo>
                    <a:pt x="15" y="30"/>
                  </a:lnTo>
                  <a:lnTo>
                    <a:pt x="15" y="30"/>
                  </a:lnTo>
                  <a:lnTo>
                    <a:pt x="20" y="29"/>
                  </a:lnTo>
                  <a:lnTo>
                    <a:pt x="25" y="26"/>
                  </a:lnTo>
                  <a:lnTo>
                    <a:pt x="29" y="21"/>
                  </a:lnTo>
                  <a:lnTo>
                    <a:pt x="29" y="15"/>
                  </a:lnTo>
                  <a:lnTo>
                    <a:pt x="29" y="15"/>
                  </a:lnTo>
                  <a:lnTo>
                    <a:pt x="29" y="9"/>
                  </a:lnTo>
                  <a:lnTo>
                    <a:pt x="25" y="5"/>
                  </a:lnTo>
                  <a:lnTo>
                    <a:pt x="20" y="1"/>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62" name="Freeform 26"/>
            <p:cNvSpPr>
              <a:spLocks noEditPoints="1"/>
            </p:cNvSpPr>
            <p:nvPr/>
          </p:nvSpPr>
          <p:spPr bwMode="auto">
            <a:xfrm>
              <a:off x="5294313" y="5457825"/>
              <a:ext cx="365125" cy="622300"/>
            </a:xfrm>
            <a:custGeom>
              <a:avLst/>
              <a:gdLst>
                <a:gd name="T0" fmla="*/ 230 w 230"/>
                <a:gd name="T1" fmla="*/ 312 h 392"/>
                <a:gd name="T2" fmla="*/ 230 w 230"/>
                <a:gd name="T3" fmla="*/ 0 h 392"/>
                <a:gd name="T4" fmla="*/ 224 w 230"/>
                <a:gd name="T5" fmla="*/ 15 h 392"/>
                <a:gd name="T6" fmla="*/ 197 w 230"/>
                <a:gd name="T7" fmla="*/ 36 h 392"/>
                <a:gd name="T8" fmla="*/ 139 w 230"/>
                <a:gd name="T9" fmla="*/ 49 h 392"/>
                <a:gd name="T10" fmla="*/ 91 w 230"/>
                <a:gd name="T11" fmla="*/ 49 h 392"/>
                <a:gd name="T12" fmla="*/ 33 w 230"/>
                <a:gd name="T13" fmla="*/ 36 h 392"/>
                <a:gd name="T14" fmla="*/ 6 w 230"/>
                <a:gd name="T15" fmla="*/ 15 h 392"/>
                <a:gd name="T16" fmla="*/ 0 w 230"/>
                <a:gd name="T17" fmla="*/ 0 h 392"/>
                <a:gd name="T18" fmla="*/ 0 w 230"/>
                <a:gd name="T19" fmla="*/ 312 h 392"/>
                <a:gd name="T20" fmla="*/ 2 w 230"/>
                <a:gd name="T21" fmla="*/ 319 h 392"/>
                <a:gd name="T22" fmla="*/ 19 w 230"/>
                <a:gd name="T23" fmla="*/ 339 h 392"/>
                <a:gd name="T24" fmla="*/ 20 w 230"/>
                <a:gd name="T25" fmla="*/ 363 h 392"/>
                <a:gd name="T26" fmla="*/ 73 w 230"/>
                <a:gd name="T27" fmla="*/ 392 h 392"/>
                <a:gd name="T28" fmla="*/ 75 w 230"/>
                <a:gd name="T29" fmla="*/ 392 h 392"/>
                <a:gd name="T30" fmla="*/ 157 w 230"/>
                <a:gd name="T31" fmla="*/ 392 h 392"/>
                <a:gd name="T32" fmla="*/ 207 w 230"/>
                <a:gd name="T33" fmla="*/ 366 h 392"/>
                <a:gd name="T34" fmla="*/ 211 w 230"/>
                <a:gd name="T35" fmla="*/ 359 h 392"/>
                <a:gd name="T36" fmla="*/ 219 w 230"/>
                <a:gd name="T37" fmla="*/ 333 h 392"/>
                <a:gd name="T38" fmla="*/ 230 w 230"/>
                <a:gd name="T39" fmla="*/ 312 h 392"/>
                <a:gd name="T40" fmla="*/ 32 w 230"/>
                <a:gd name="T41" fmla="*/ 346 h 392"/>
                <a:gd name="T42" fmla="*/ 69 w 230"/>
                <a:gd name="T43" fmla="*/ 376 h 392"/>
                <a:gd name="T44" fmla="*/ 82 w 230"/>
                <a:gd name="T45" fmla="*/ 359 h 392"/>
                <a:gd name="T46" fmla="*/ 115 w 230"/>
                <a:gd name="T47" fmla="*/ 362 h 392"/>
                <a:gd name="T48" fmla="*/ 148 w 230"/>
                <a:gd name="T49" fmla="*/ 359 h 392"/>
                <a:gd name="T50" fmla="*/ 82 w 230"/>
                <a:gd name="T51" fmla="*/ 359 h 392"/>
                <a:gd name="T52" fmla="*/ 161 w 230"/>
                <a:gd name="T53" fmla="*/ 356 h 392"/>
                <a:gd name="T54" fmla="*/ 198 w 230"/>
                <a:gd name="T55" fmla="*/ 346 h 392"/>
                <a:gd name="T56" fmla="*/ 218 w 230"/>
                <a:gd name="T57" fmla="*/ 312 h 392"/>
                <a:gd name="T58" fmla="*/ 210 w 230"/>
                <a:gd name="T59" fmla="*/ 323 h 392"/>
                <a:gd name="T60" fmla="*/ 174 w 230"/>
                <a:gd name="T61" fmla="*/ 341 h 392"/>
                <a:gd name="T62" fmla="*/ 115 w 230"/>
                <a:gd name="T63" fmla="*/ 348 h 392"/>
                <a:gd name="T64" fmla="*/ 73 w 230"/>
                <a:gd name="T65" fmla="*/ 345 h 392"/>
                <a:gd name="T66" fmla="*/ 29 w 230"/>
                <a:gd name="T67" fmla="*/ 330 h 392"/>
                <a:gd name="T68" fmla="*/ 13 w 230"/>
                <a:gd name="T69" fmla="*/ 316 h 392"/>
                <a:gd name="T70" fmla="*/ 12 w 230"/>
                <a:gd name="T71" fmla="*/ 298 h 392"/>
                <a:gd name="T72" fmla="*/ 21 w 230"/>
                <a:gd name="T73" fmla="*/ 44 h 392"/>
                <a:gd name="T74" fmla="*/ 57 w 230"/>
                <a:gd name="T75" fmla="*/ 56 h 392"/>
                <a:gd name="T76" fmla="*/ 99 w 230"/>
                <a:gd name="T77" fmla="*/ 62 h 392"/>
                <a:gd name="T78" fmla="*/ 131 w 230"/>
                <a:gd name="T79" fmla="*/ 62 h 392"/>
                <a:gd name="T80" fmla="*/ 173 w 230"/>
                <a:gd name="T81" fmla="*/ 56 h 392"/>
                <a:gd name="T82" fmla="*/ 209 w 230"/>
                <a:gd name="T83" fmla="*/ 44 h 392"/>
                <a:gd name="T84" fmla="*/ 218 w 230"/>
                <a:gd name="T85" fmla="*/ 31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0" h="392">
                  <a:moveTo>
                    <a:pt x="230" y="312"/>
                  </a:moveTo>
                  <a:lnTo>
                    <a:pt x="230" y="312"/>
                  </a:lnTo>
                  <a:lnTo>
                    <a:pt x="230" y="312"/>
                  </a:lnTo>
                  <a:lnTo>
                    <a:pt x="230" y="312"/>
                  </a:lnTo>
                  <a:lnTo>
                    <a:pt x="230" y="0"/>
                  </a:lnTo>
                  <a:lnTo>
                    <a:pt x="230" y="0"/>
                  </a:lnTo>
                  <a:lnTo>
                    <a:pt x="230" y="6"/>
                  </a:lnTo>
                  <a:lnTo>
                    <a:pt x="227" y="11"/>
                  </a:lnTo>
                  <a:lnTo>
                    <a:pt x="224" y="15"/>
                  </a:lnTo>
                  <a:lnTo>
                    <a:pt x="220" y="20"/>
                  </a:lnTo>
                  <a:lnTo>
                    <a:pt x="210" y="28"/>
                  </a:lnTo>
                  <a:lnTo>
                    <a:pt x="197" y="36"/>
                  </a:lnTo>
                  <a:lnTo>
                    <a:pt x="180" y="41"/>
                  </a:lnTo>
                  <a:lnTo>
                    <a:pt x="160" y="47"/>
                  </a:lnTo>
                  <a:lnTo>
                    <a:pt x="139" y="49"/>
                  </a:lnTo>
                  <a:lnTo>
                    <a:pt x="115" y="51"/>
                  </a:lnTo>
                  <a:lnTo>
                    <a:pt x="115" y="51"/>
                  </a:lnTo>
                  <a:lnTo>
                    <a:pt x="91" y="49"/>
                  </a:lnTo>
                  <a:lnTo>
                    <a:pt x="70" y="47"/>
                  </a:lnTo>
                  <a:lnTo>
                    <a:pt x="50" y="41"/>
                  </a:lnTo>
                  <a:lnTo>
                    <a:pt x="33" y="36"/>
                  </a:lnTo>
                  <a:lnTo>
                    <a:pt x="20" y="28"/>
                  </a:lnTo>
                  <a:lnTo>
                    <a:pt x="9" y="20"/>
                  </a:lnTo>
                  <a:lnTo>
                    <a:pt x="6" y="15"/>
                  </a:lnTo>
                  <a:lnTo>
                    <a:pt x="3" y="11"/>
                  </a:lnTo>
                  <a:lnTo>
                    <a:pt x="0" y="6"/>
                  </a:lnTo>
                  <a:lnTo>
                    <a:pt x="0" y="0"/>
                  </a:lnTo>
                  <a:lnTo>
                    <a:pt x="0" y="312"/>
                  </a:lnTo>
                  <a:lnTo>
                    <a:pt x="0" y="312"/>
                  </a:lnTo>
                  <a:lnTo>
                    <a:pt x="0" y="312"/>
                  </a:lnTo>
                  <a:lnTo>
                    <a:pt x="0" y="312"/>
                  </a:lnTo>
                  <a:lnTo>
                    <a:pt x="0" y="312"/>
                  </a:lnTo>
                  <a:lnTo>
                    <a:pt x="2" y="319"/>
                  </a:lnTo>
                  <a:lnTo>
                    <a:pt x="4" y="326"/>
                  </a:lnTo>
                  <a:lnTo>
                    <a:pt x="11" y="333"/>
                  </a:lnTo>
                  <a:lnTo>
                    <a:pt x="19" y="339"/>
                  </a:lnTo>
                  <a:lnTo>
                    <a:pt x="19" y="359"/>
                  </a:lnTo>
                  <a:lnTo>
                    <a:pt x="19" y="359"/>
                  </a:lnTo>
                  <a:lnTo>
                    <a:pt x="20" y="363"/>
                  </a:lnTo>
                  <a:lnTo>
                    <a:pt x="23" y="366"/>
                  </a:lnTo>
                  <a:lnTo>
                    <a:pt x="73" y="392"/>
                  </a:lnTo>
                  <a:lnTo>
                    <a:pt x="73" y="392"/>
                  </a:lnTo>
                  <a:lnTo>
                    <a:pt x="73" y="392"/>
                  </a:lnTo>
                  <a:lnTo>
                    <a:pt x="73" y="392"/>
                  </a:lnTo>
                  <a:lnTo>
                    <a:pt x="75" y="392"/>
                  </a:lnTo>
                  <a:lnTo>
                    <a:pt x="154" y="392"/>
                  </a:lnTo>
                  <a:lnTo>
                    <a:pt x="154" y="392"/>
                  </a:lnTo>
                  <a:lnTo>
                    <a:pt x="157" y="392"/>
                  </a:lnTo>
                  <a:lnTo>
                    <a:pt x="157" y="392"/>
                  </a:lnTo>
                  <a:lnTo>
                    <a:pt x="157" y="392"/>
                  </a:lnTo>
                  <a:lnTo>
                    <a:pt x="207" y="366"/>
                  </a:lnTo>
                  <a:lnTo>
                    <a:pt x="207" y="366"/>
                  </a:lnTo>
                  <a:lnTo>
                    <a:pt x="210" y="363"/>
                  </a:lnTo>
                  <a:lnTo>
                    <a:pt x="211" y="359"/>
                  </a:lnTo>
                  <a:lnTo>
                    <a:pt x="211" y="339"/>
                  </a:lnTo>
                  <a:lnTo>
                    <a:pt x="211" y="339"/>
                  </a:lnTo>
                  <a:lnTo>
                    <a:pt x="219" y="333"/>
                  </a:lnTo>
                  <a:lnTo>
                    <a:pt x="224" y="326"/>
                  </a:lnTo>
                  <a:lnTo>
                    <a:pt x="228" y="319"/>
                  </a:lnTo>
                  <a:lnTo>
                    <a:pt x="230" y="312"/>
                  </a:lnTo>
                  <a:lnTo>
                    <a:pt x="230" y="312"/>
                  </a:lnTo>
                  <a:close/>
                  <a:moveTo>
                    <a:pt x="32" y="346"/>
                  </a:moveTo>
                  <a:lnTo>
                    <a:pt x="32" y="346"/>
                  </a:lnTo>
                  <a:lnTo>
                    <a:pt x="49" y="352"/>
                  </a:lnTo>
                  <a:lnTo>
                    <a:pt x="69" y="356"/>
                  </a:lnTo>
                  <a:lnTo>
                    <a:pt x="69" y="376"/>
                  </a:lnTo>
                  <a:lnTo>
                    <a:pt x="32" y="356"/>
                  </a:lnTo>
                  <a:lnTo>
                    <a:pt x="32" y="346"/>
                  </a:lnTo>
                  <a:close/>
                  <a:moveTo>
                    <a:pt x="82" y="359"/>
                  </a:moveTo>
                  <a:lnTo>
                    <a:pt x="82" y="359"/>
                  </a:lnTo>
                  <a:lnTo>
                    <a:pt x="98" y="360"/>
                  </a:lnTo>
                  <a:lnTo>
                    <a:pt x="115" y="362"/>
                  </a:lnTo>
                  <a:lnTo>
                    <a:pt x="115" y="362"/>
                  </a:lnTo>
                  <a:lnTo>
                    <a:pt x="132" y="360"/>
                  </a:lnTo>
                  <a:lnTo>
                    <a:pt x="148" y="359"/>
                  </a:lnTo>
                  <a:lnTo>
                    <a:pt x="148" y="380"/>
                  </a:lnTo>
                  <a:lnTo>
                    <a:pt x="82" y="380"/>
                  </a:lnTo>
                  <a:lnTo>
                    <a:pt x="82" y="359"/>
                  </a:lnTo>
                  <a:close/>
                  <a:moveTo>
                    <a:pt x="198" y="356"/>
                  </a:moveTo>
                  <a:lnTo>
                    <a:pt x="161" y="376"/>
                  </a:lnTo>
                  <a:lnTo>
                    <a:pt x="161" y="356"/>
                  </a:lnTo>
                  <a:lnTo>
                    <a:pt x="161" y="356"/>
                  </a:lnTo>
                  <a:lnTo>
                    <a:pt x="181" y="352"/>
                  </a:lnTo>
                  <a:lnTo>
                    <a:pt x="198" y="346"/>
                  </a:lnTo>
                  <a:lnTo>
                    <a:pt x="198" y="356"/>
                  </a:lnTo>
                  <a:close/>
                  <a:moveTo>
                    <a:pt x="218" y="312"/>
                  </a:moveTo>
                  <a:lnTo>
                    <a:pt x="218" y="312"/>
                  </a:lnTo>
                  <a:lnTo>
                    <a:pt x="216" y="314"/>
                  </a:lnTo>
                  <a:lnTo>
                    <a:pt x="215" y="318"/>
                  </a:lnTo>
                  <a:lnTo>
                    <a:pt x="210" y="323"/>
                  </a:lnTo>
                  <a:lnTo>
                    <a:pt x="201" y="330"/>
                  </a:lnTo>
                  <a:lnTo>
                    <a:pt x="189" y="335"/>
                  </a:lnTo>
                  <a:lnTo>
                    <a:pt x="174" y="341"/>
                  </a:lnTo>
                  <a:lnTo>
                    <a:pt x="157" y="345"/>
                  </a:lnTo>
                  <a:lnTo>
                    <a:pt x="137" y="347"/>
                  </a:lnTo>
                  <a:lnTo>
                    <a:pt x="115" y="348"/>
                  </a:lnTo>
                  <a:lnTo>
                    <a:pt x="115" y="348"/>
                  </a:lnTo>
                  <a:lnTo>
                    <a:pt x="93" y="347"/>
                  </a:lnTo>
                  <a:lnTo>
                    <a:pt x="73" y="345"/>
                  </a:lnTo>
                  <a:lnTo>
                    <a:pt x="56" y="341"/>
                  </a:lnTo>
                  <a:lnTo>
                    <a:pt x="41" y="335"/>
                  </a:lnTo>
                  <a:lnTo>
                    <a:pt x="29" y="330"/>
                  </a:lnTo>
                  <a:lnTo>
                    <a:pt x="20" y="323"/>
                  </a:lnTo>
                  <a:lnTo>
                    <a:pt x="15" y="318"/>
                  </a:lnTo>
                  <a:lnTo>
                    <a:pt x="13" y="316"/>
                  </a:lnTo>
                  <a:lnTo>
                    <a:pt x="12" y="312"/>
                  </a:lnTo>
                  <a:lnTo>
                    <a:pt x="12" y="312"/>
                  </a:lnTo>
                  <a:lnTo>
                    <a:pt x="12" y="298"/>
                  </a:lnTo>
                  <a:lnTo>
                    <a:pt x="12" y="39"/>
                  </a:lnTo>
                  <a:lnTo>
                    <a:pt x="12" y="39"/>
                  </a:lnTo>
                  <a:lnTo>
                    <a:pt x="21" y="44"/>
                  </a:lnTo>
                  <a:lnTo>
                    <a:pt x="32" y="49"/>
                  </a:lnTo>
                  <a:lnTo>
                    <a:pt x="44" y="53"/>
                  </a:lnTo>
                  <a:lnTo>
                    <a:pt x="57" y="56"/>
                  </a:lnTo>
                  <a:lnTo>
                    <a:pt x="70" y="58"/>
                  </a:lnTo>
                  <a:lnTo>
                    <a:pt x="85" y="61"/>
                  </a:lnTo>
                  <a:lnTo>
                    <a:pt x="99" y="62"/>
                  </a:lnTo>
                  <a:lnTo>
                    <a:pt x="115" y="62"/>
                  </a:lnTo>
                  <a:lnTo>
                    <a:pt x="115" y="62"/>
                  </a:lnTo>
                  <a:lnTo>
                    <a:pt x="131" y="62"/>
                  </a:lnTo>
                  <a:lnTo>
                    <a:pt x="145" y="61"/>
                  </a:lnTo>
                  <a:lnTo>
                    <a:pt x="160" y="58"/>
                  </a:lnTo>
                  <a:lnTo>
                    <a:pt x="173" y="56"/>
                  </a:lnTo>
                  <a:lnTo>
                    <a:pt x="186" y="53"/>
                  </a:lnTo>
                  <a:lnTo>
                    <a:pt x="198" y="49"/>
                  </a:lnTo>
                  <a:lnTo>
                    <a:pt x="209" y="44"/>
                  </a:lnTo>
                  <a:lnTo>
                    <a:pt x="218" y="39"/>
                  </a:lnTo>
                  <a:lnTo>
                    <a:pt x="218" y="312"/>
                  </a:lnTo>
                  <a:lnTo>
                    <a:pt x="218"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63" name="Rectangle 27"/>
            <p:cNvSpPr>
              <a:spLocks noChangeArrowheads="1"/>
            </p:cNvSpPr>
            <p:nvPr/>
          </p:nvSpPr>
          <p:spPr bwMode="auto">
            <a:xfrm>
              <a:off x="5659438" y="5457825"/>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64" name="Rectangle 28"/>
            <p:cNvSpPr>
              <a:spLocks noChangeArrowheads="1"/>
            </p:cNvSpPr>
            <p:nvPr/>
          </p:nvSpPr>
          <p:spPr bwMode="auto">
            <a:xfrm>
              <a:off x="5294313" y="5457825"/>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grpSp>
      <p:grpSp>
        <p:nvGrpSpPr>
          <p:cNvPr id="65" name="Группа 64"/>
          <p:cNvGrpSpPr/>
          <p:nvPr/>
        </p:nvGrpSpPr>
        <p:grpSpPr>
          <a:xfrm>
            <a:off x="6667669" y="4089742"/>
            <a:ext cx="395944" cy="441835"/>
            <a:chOff x="2795588" y="2830513"/>
            <a:chExt cx="588963" cy="657225"/>
          </a:xfrm>
          <a:solidFill>
            <a:schemeClr val="accent4"/>
          </a:solidFill>
        </p:grpSpPr>
        <p:sp>
          <p:nvSpPr>
            <p:cNvPr id="66" name="Freeform 22"/>
            <p:cNvSpPr>
              <a:spLocks/>
            </p:cNvSpPr>
            <p:nvPr/>
          </p:nvSpPr>
          <p:spPr bwMode="auto">
            <a:xfrm>
              <a:off x="2795588" y="2830513"/>
              <a:ext cx="103188" cy="42863"/>
            </a:xfrm>
            <a:custGeom>
              <a:avLst/>
              <a:gdLst>
                <a:gd name="T0" fmla="*/ 65 w 65"/>
                <a:gd name="T1" fmla="*/ 13 h 27"/>
                <a:gd name="T2" fmla="*/ 65 w 65"/>
                <a:gd name="T3" fmla="*/ 13 h 27"/>
                <a:gd name="T4" fmla="*/ 65 w 65"/>
                <a:gd name="T5" fmla="*/ 15 h 27"/>
                <a:gd name="T6" fmla="*/ 62 w 65"/>
                <a:gd name="T7" fmla="*/ 18 h 27"/>
                <a:gd name="T8" fmla="*/ 56 w 65"/>
                <a:gd name="T9" fmla="*/ 23 h 27"/>
                <a:gd name="T10" fmla="*/ 45 w 65"/>
                <a:gd name="T11" fmla="*/ 26 h 27"/>
                <a:gd name="T12" fmla="*/ 33 w 65"/>
                <a:gd name="T13" fmla="*/ 27 h 27"/>
                <a:gd name="T14" fmla="*/ 33 w 65"/>
                <a:gd name="T15" fmla="*/ 27 h 27"/>
                <a:gd name="T16" fmla="*/ 20 w 65"/>
                <a:gd name="T17" fmla="*/ 26 h 27"/>
                <a:gd name="T18" fmla="*/ 11 w 65"/>
                <a:gd name="T19" fmla="*/ 23 h 27"/>
                <a:gd name="T20" fmla="*/ 3 w 65"/>
                <a:gd name="T21" fmla="*/ 18 h 27"/>
                <a:gd name="T22" fmla="*/ 2 w 65"/>
                <a:gd name="T23" fmla="*/ 15 h 27"/>
                <a:gd name="T24" fmla="*/ 0 w 65"/>
                <a:gd name="T25" fmla="*/ 13 h 27"/>
                <a:gd name="T26" fmla="*/ 0 w 65"/>
                <a:gd name="T27" fmla="*/ 13 h 27"/>
                <a:gd name="T28" fmla="*/ 2 w 65"/>
                <a:gd name="T29" fmla="*/ 10 h 27"/>
                <a:gd name="T30" fmla="*/ 3 w 65"/>
                <a:gd name="T31" fmla="*/ 7 h 27"/>
                <a:gd name="T32" fmla="*/ 11 w 65"/>
                <a:gd name="T33" fmla="*/ 4 h 27"/>
                <a:gd name="T34" fmla="*/ 20 w 65"/>
                <a:gd name="T35" fmla="*/ 0 h 27"/>
                <a:gd name="T36" fmla="*/ 33 w 65"/>
                <a:gd name="T37" fmla="*/ 0 h 27"/>
                <a:gd name="T38" fmla="*/ 33 w 65"/>
                <a:gd name="T39" fmla="*/ 0 h 27"/>
                <a:gd name="T40" fmla="*/ 45 w 65"/>
                <a:gd name="T41" fmla="*/ 0 h 27"/>
                <a:gd name="T42" fmla="*/ 56 w 65"/>
                <a:gd name="T43" fmla="*/ 4 h 27"/>
                <a:gd name="T44" fmla="*/ 62 w 65"/>
                <a:gd name="T45" fmla="*/ 7 h 27"/>
                <a:gd name="T46" fmla="*/ 65 w 65"/>
                <a:gd name="T47" fmla="*/ 10 h 27"/>
                <a:gd name="T48" fmla="*/ 65 w 65"/>
                <a:gd name="T49" fmla="*/ 13 h 27"/>
                <a:gd name="T50" fmla="*/ 65 w 65"/>
                <a:gd name="T51"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27">
                  <a:moveTo>
                    <a:pt x="65" y="13"/>
                  </a:moveTo>
                  <a:lnTo>
                    <a:pt x="65" y="13"/>
                  </a:lnTo>
                  <a:lnTo>
                    <a:pt x="65" y="15"/>
                  </a:lnTo>
                  <a:lnTo>
                    <a:pt x="62" y="18"/>
                  </a:lnTo>
                  <a:lnTo>
                    <a:pt x="56" y="23"/>
                  </a:lnTo>
                  <a:lnTo>
                    <a:pt x="45" y="26"/>
                  </a:lnTo>
                  <a:lnTo>
                    <a:pt x="33" y="27"/>
                  </a:lnTo>
                  <a:lnTo>
                    <a:pt x="33" y="27"/>
                  </a:lnTo>
                  <a:lnTo>
                    <a:pt x="20" y="26"/>
                  </a:lnTo>
                  <a:lnTo>
                    <a:pt x="11" y="23"/>
                  </a:lnTo>
                  <a:lnTo>
                    <a:pt x="3" y="18"/>
                  </a:lnTo>
                  <a:lnTo>
                    <a:pt x="2" y="15"/>
                  </a:lnTo>
                  <a:lnTo>
                    <a:pt x="0" y="13"/>
                  </a:lnTo>
                  <a:lnTo>
                    <a:pt x="0" y="13"/>
                  </a:lnTo>
                  <a:lnTo>
                    <a:pt x="2" y="10"/>
                  </a:lnTo>
                  <a:lnTo>
                    <a:pt x="3" y="7"/>
                  </a:lnTo>
                  <a:lnTo>
                    <a:pt x="11" y="4"/>
                  </a:lnTo>
                  <a:lnTo>
                    <a:pt x="20" y="0"/>
                  </a:lnTo>
                  <a:lnTo>
                    <a:pt x="33" y="0"/>
                  </a:lnTo>
                  <a:lnTo>
                    <a:pt x="33" y="0"/>
                  </a:lnTo>
                  <a:lnTo>
                    <a:pt x="45" y="0"/>
                  </a:lnTo>
                  <a:lnTo>
                    <a:pt x="56" y="4"/>
                  </a:lnTo>
                  <a:lnTo>
                    <a:pt x="62" y="7"/>
                  </a:lnTo>
                  <a:lnTo>
                    <a:pt x="65" y="10"/>
                  </a:lnTo>
                  <a:lnTo>
                    <a:pt x="65" y="13"/>
                  </a:lnTo>
                  <a:lnTo>
                    <a:pt x="65"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67" name="Freeform 29"/>
            <p:cNvSpPr>
              <a:spLocks/>
            </p:cNvSpPr>
            <p:nvPr/>
          </p:nvSpPr>
          <p:spPr bwMode="auto">
            <a:xfrm>
              <a:off x="2919413" y="2897188"/>
              <a:ext cx="307975" cy="133350"/>
            </a:xfrm>
            <a:custGeom>
              <a:avLst/>
              <a:gdLst>
                <a:gd name="T0" fmla="*/ 96 w 194"/>
                <a:gd name="T1" fmla="*/ 84 h 84"/>
                <a:gd name="T2" fmla="*/ 96 w 194"/>
                <a:gd name="T3" fmla="*/ 84 h 84"/>
                <a:gd name="T4" fmla="*/ 116 w 194"/>
                <a:gd name="T5" fmla="*/ 83 h 84"/>
                <a:gd name="T6" fmla="*/ 135 w 194"/>
                <a:gd name="T7" fmla="*/ 80 h 84"/>
                <a:gd name="T8" fmla="*/ 150 w 194"/>
                <a:gd name="T9" fmla="*/ 76 h 84"/>
                <a:gd name="T10" fmla="*/ 165 w 194"/>
                <a:gd name="T11" fmla="*/ 71 h 84"/>
                <a:gd name="T12" fmla="*/ 177 w 194"/>
                <a:gd name="T13" fmla="*/ 66 h 84"/>
                <a:gd name="T14" fmla="*/ 186 w 194"/>
                <a:gd name="T15" fmla="*/ 58 h 84"/>
                <a:gd name="T16" fmla="*/ 189 w 194"/>
                <a:gd name="T17" fmla="*/ 54 h 84"/>
                <a:gd name="T18" fmla="*/ 191 w 194"/>
                <a:gd name="T19" fmla="*/ 50 h 84"/>
                <a:gd name="T20" fmla="*/ 193 w 194"/>
                <a:gd name="T21" fmla="*/ 46 h 84"/>
                <a:gd name="T22" fmla="*/ 194 w 194"/>
                <a:gd name="T23" fmla="*/ 42 h 84"/>
                <a:gd name="T24" fmla="*/ 194 w 194"/>
                <a:gd name="T25" fmla="*/ 42 h 84"/>
                <a:gd name="T26" fmla="*/ 193 w 194"/>
                <a:gd name="T27" fmla="*/ 38 h 84"/>
                <a:gd name="T28" fmla="*/ 191 w 194"/>
                <a:gd name="T29" fmla="*/ 34 h 84"/>
                <a:gd name="T30" fmla="*/ 189 w 194"/>
                <a:gd name="T31" fmla="*/ 30 h 84"/>
                <a:gd name="T32" fmla="*/ 186 w 194"/>
                <a:gd name="T33" fmla="*/ 26 h 84"/>
                <a:gd name="T34" fmla="*/ 177 w 194"/>
                <a:gd name="T35" fmla="*/ 18 h 84"/>
                <a:gd name="T36" fmla="*/ 165 w 194"/>
                <a:gd name="T37" fmla="*/ 13 h 84"/>
                <a:gd name="T38" fmla="*/ 150 w 194"/>
                <a:gd name="T39" fmla="*/ 8 h 84"/>
                <a:gd name="T40" fmla="*/ 135 w 194"/>
                <a:gd name="T41" fmla="*/ 4 h 84"/>
                <a:gd name="T42" fmla="*/ 116 w 194"/>
                <a:gd name="T43" fmla="*/ 1 h 84"/>
                <a:gd name="T44" fmla="*/ 96 w 194"/>
                <a:gd name="T45" fmla="*/ 0 h 84"/>
                <a:gd name="T46" fmla="*/ 96 w 194"/>
                <a:gd name="T47" fmla="*/ 0 h 84"/>
                <a:gd name="T48" fmla="*/ 77 w 194"/>
                <a:gd name="T49" fmla="*/ 1 h 84"/>
                <a:gd name="T50" fmla="*/ 58 w 194"/>
                <a:gd name="T51" fmla="*/ 4 h 84"/>
                <a:gd name="T52" fmla="*/ 42 w 194"/>
                <a:gd name="T53" fmla="*/ 8 h 84"/>
                <a:gd name="T54" fmla="*/ 28 w 194"/>
                <a:gd name="T55" fmla="*/ 13 h 84"/>
                <a:gd name="T56" fmla="*/ 16 w 194"/>
                <a:gd name="T57" fmla="*/ 18 h 84"/>
                <a:gd name="T58" fmla="*/ 7 w 194"/>
                <a:gd name="T59" fmla="*/ 26 h 84"/>
                <a:gd name="T60" fmla="*/ 4 w 194"/>
                <a:gd name="T61" fmla="*/ 30 h 84"/>
                <a:gd name="T62" fmla="*/ 1 w 194"/>
                <a:gd name="T63" fmla="*/ 34 h 84"/>
                <a:gd name="T64" fmla="*/ 0 w 194"/>
                <a:gd name="T65" fmla="*/ 38 h 84"/>
                <a:gd name="T66" fmla="*/ 0 w 194"/>
                <a:gd name="T67" fmla="*/ 42 h 84"/>
                <a:gd name="T68" fmla="*/ 0 w 194"/>
                <a:gd name="T69" fmla="*/ 42 h 84"/>
                <a:gd name="T70" fmla="*/ 0 w 194"/>
                <a:gd name="T71" fmla="*/ 46 h 84"/>
                <a:gd name="T72" fmla="*/ 1 w 194"/>
                <a:gd name="T73" fmla="*/ 50 h 84"/>
                <a:gd name="T74" fmla="*/ 4 w 194"/>
                <a:gd name="T75" fmla="*/ 54 h 84"/>
                <a:gd name="T76" fmla="*/ 7 w 194"/>
                <a:gd name="T77" fmla="*/ 58 h 84"/>
                <a:gd name="T78" fmla="*/ 16 w 194"/>
                <a:gd name="T79" fmla="*/ 66 h 84"/>
                <a:gd name="T80" fmla="*/ 28 w 194"/>
                <a:gd name="T81" fmla="*/ 71 h 84"/>
                <a:gd name="T82" fmla="*/ 42 w 194"/>
                <a:gd name="T83" fmla="*/ 76 h 84"/>
                <a:gd name="T84" fmla="*/ 58 w 194"/>
                <a:gd name="T85" fmla="*/ 80 h 84"/>
                <a:gd name="T86" fmla="*/ 77 w 194"/>
                <a:gd name="T87" fmla="*/ 83 h 84"/>
                <a:gd name="T88" fmla="*/ 96 w 194"/>
                <a:gd name="T89" fmla="*/ 84 h 84"/>
                <a:gd name="T90" fmla="*/ 96 w 194"/>
                <a:gd name="T9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84">
                  <a:moveTo>
                    <a:pt x="96" y="84"/>
                  </a:moveTo>
                  <a:lnTo>
                    <a:pt x="96" y="84"/>
                  </a:lnTo>
                  <a:lnTo>
                    <a:pt x="116" y="83"/>
                  </a:lnTo>
                  <a:lnTo>
                    <a:pt x="135" y="80"/>
                  </a:lnTo>
                  <a:lnTo>
                    <a:pt x="150" y="76"/>
                  </a:lnTo>
                  <a:lnTo>
                    <a:pt x="165" y="71"/>
                  </a:lnTo>
                  <a:lnTo>
                    <a:pt x="177" y="66"/>
                  </a:lnTo>
                  <a:lnTo>
                    <a:pt x="186" y="58"/>
                  </a:lnTo>
                  <a:lnTo>
                    <a:pt x="189" y="54"/>
                  </a:lnTo>
                  <a:lnTo>
                    <a:pt x="191" y="50"/>
                  </a:lnTo>
                  <a:lnTo>
                    <a:pt x="193" y="46"/>
                  </a:lnTo>
                  <a:lnTo>
                    <a:pt x="194" y="42"/>
                  </a:lnTo>
                  <a:lnTo>
                    <a:pt x="194" y="42"/>
                  </a:lnTo>
                  <a:lnTo>
                    <a:pt x="193" y="38"/>
                  </a:lnTo>
                  <a:lnTo>
                    <a:pt x="191" y="34"/>
                  </a:lnTo>
                  <a:lnTo>
                    <a:pt x="189" y="30"/>
                  </a:lnTo>
                  <a:lnTo>
                    <a:pt x="186" y="26"/>
                  </a:lnTo>
                  <a:lnTo>
                    <a:pt x="177" y="18"/>
                  </a:lnTo>
                  <a:lnTo>
                    <a:pt x="165" y="13"/>
                  </a:lnTo>
                  <a:lnTo>
                    <a:pt x="150" y="8"/>
                  </a:lnTo>
                  <a:lnTo>
                    <a:pt x="135" y="4"/>
                  </a:lnTo>
                  <a:lnTo>
                    <a:pt x="116" y="1"/>
                  </a:lnTo>
                  <a:lnTo>
                    <a:pt x="96" y="0"/>
                  </a:lnTo>
                  <a:lnTo>
                    <a:pt x="96" y="0"/>
                  </a:lnTo>
                  <a:lnTo>
                    <a:pt x="77" y="1"/>
                  </a:lnTo>
                  <a:lnTo>
                    <a:pt x="58" y="4"/>
                  </a:lnTo>
                  <a:lnTo>
                    <a:pt x="42" y="8"/>
                  </a:lnTo>
                  <a:lnTo>
                    <a:pt x="28" y="13"/>
                  </a:lnTo>
                  <a:lnTo>
                    <a:pt x="16" y="18"/>
                  </a:lnTo>
                  <a:lnTo>
                    <a:pt x="7" y="26"/>
                  </a:lnTo>
                  <a:lnTo>
                    <a:pt x="4" y="30"/>
                  </a:lnTo>
                  <a:lnTo>
                    <a:pt x="1" y="34"/>
                  </a:lnTo>
                  <a:lnTo>
                    <a:pt x="0" y="38"/>
                  </a:lnTo>
                  <a:lnTo>
                    <a:pt x="0" y="42"/>
                  </a:lnTo>
                  <a:lnTo>
                    <a:pt x="0" y="42"/>
                  </a:lnTo>
                  <a:lnTo>
                    <a:pt x="0" y="46"/>
                  </a:lnTo>
                  <a:lnTo>
                    <a:pt x="1" y="50"/>
                  </a:lnTo>
                  <a:lnTo>
                    <a:pt x="4" y="54"/>
                  </a:lnTo>
                  <a:lnTo>
                    <a:pt x="7" y="58"/>
                  </a:lnTo>
                  <a:lnTo>
                    <a:pt x="16" y="66"/>
                  </a:lnTo>
                  <a:lnTo>
                    <a:pt x="28" y="71"/>
                  </a:lnTo>
                  <a:lnTo>
                    <a:pt x="42" y="76"/>
                  </a:lnTo>
                  <a:lnTo>
                    <a:pt x="58" y="80"/>
                  </a:lnTo>
                  <a:lnTo>
                    <a:pt x="77" y="83"/>
                  </a:lnTo>
                  <a:lnTo>
                    <a:pt x="96" y="84"/>
                  </a:lnTo>
                  <a:lnTo>
                    <a:pt x="96"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68" name="Freeform 30"/>
            <p:cNvSpPr>
              <a:spLocks noEditPoints="1"/>
            </p:cNvSpPr>
            <p:nvPr/>
          </p:nvSpPr>
          <p:spPr bwMode="auto">
            <a:xfrm>
              <a:off x="2795588" y="2865438"/>
              <a:ext cx="588963" cy="622300"/>
            </a:xfrm>
            <a:custGeom>
              <a:avLst/>
              <a:gdLst>
                <a:gd name="T0" fmla="*/ 358 w 371"/>
                <a:gd name="T1" fmla="*/ 137 h 392"/>
                <a:gd name="T2" fmla="*/ 323 w 371"/>
                <a:gd name="T3" fmla="*/ 156 h 392"/>
                <a:gd name="T4" fmla="*/ 305 w 371"/>
                <a:gd name="T5" fmla="*/ 188 h 392"/>
                <a:gd name="T6" fmla="*/ 294 w 371"/>
                <a:gd name="T7" fmla="*/ 206 h 392"/>
                <a:gd name="T8" fmla="*/ 282 w 371"/>
                <a:gd name="T9" fmla="*/ 137 h 392"/>
                <a:gd name="T10" fmla="*/ 272 w 371"/>
                <a:gd name="T11" fmla="*/ 72 h 392"/>
                <a:gd name="T12" fmla="*/ 267 w 371"/>
                <a:gd name="T13" fmla="*/ 86 h 392"/>
                <a:gd name="T14" fmla="*/ 243 w 371"/>
                <a:gd name="T15" fmla="*/ 103 h 392"/>
                <a:gd name="T16" fmla="*/ 194 w 371"/>
                <a:gd name="T17" fmla="*/ 113 h 392"/>
                <a:gd name="T18" fmla="*/ 155 w 371"/>
                <a:gd name="T19" fmla="*/ 113 h 392"/>
                <a:gd name="T20" fmla="*/ 106 w 371"/>
                <a:gd name="T21" fmla="*/ 103 h 392"/>
                <a:gd name="T22" fmla="*/ 82 w 371"/>
                <a:gd name="T23" fmla="*/ 86 h 392"/>
                <a:gd name="T24" fmla="*/ 78 w 371"/>
                <a:gd name="T25" fmla="*/ 72 h 392"/>
                <a:gd name="T26" fmla="*/ 65 w 371"/>
                <a:gd name="T27" fmla="*/ 0 h 392"/>
                <a:gd name="T28" fmla="*/ 62 w 371"/>
                <a:gd name="T29" fmla="*/ 5 h 392"/>
                <a:gd name="T30" fmla="*/ 33 w 371"/>
                <a:gd name="T31" fmla="*/ 13 h 392"/>
                <a:gd name="T32" fmla="*/ 11 w 371"/>
                <a:gd name="T33" fmla="*/ 9 h 392"/>
                <a:gd name="T34" fmla="*/ 0 w 371"/>
                <a:gd name="T35" fmla="*/ 0 h 392"/>
                <a:gd name="T36" fmla="*/ 0 w 371"/>
                <a:gd name="T37" fmla="*/ 377 h 392"/>
                <a:gd name="T38" fmla="*/ 2 w 371"/>
                <a:gd name="T39" fmla="*/ 381 h 392"/>
                <a:gd name="T40" fmla="*/ 20 w 371"/>
                <a:gd name="T41" fmla="*/ 390 h 392"/>
                <a:gd name="T42" fmla="*/ 45 w 371"/>
                <a:gd name="T43" fmla="*/ 390 h 392"/>
                <a:gd name="T44" fmla="*/ 64 w 371"/>
                <a:gd name="T45" fmla="*/ 381 h 392"/>
                <a:gd name="T46" fmla="*/ 371 w 371"/>
                <a:gd name="T47" fmla="*/ 206 h 392"/>
                <a:gd name="T48" fmla="*/ 56 w 371"/>
                <a:gd name="T49" fmla="*/ 377 h 392"/>
                <a:gd name="T50" fmla="*/ 49 w 371"/>
                <a:gd name="T51" fmla="*/ 380 h 392"/>
                <a:gd name="T52" fmla="*/ 33 w 371"/>
                <a:gd name="T53" fmla="*/ 382 h 392"/>
                <a:gd name="T54" fmla="*/ 14 w 371"/>
                <a:gd name="T55" fmla="*/ 378 h 392"/>
                <a:gd name="T56" fmla="*/ 11 w 371"/>
                <a:gd name="T57" fmla="*/ 20 h 392"/>
                <a:gd name="T58" fmla="*/ 33 w 371"/>
                <a:gd name="T59" fmla="*/ 22 h 392"/>
                <a:gd name="T60" fmla="*/ 56 w 371"/>
                <a:gd name="T61" fmla="*/ 20 h 392"/>
                <a:gd name="T62" fmla="*/ 181 w 371"/>
                <a:gd name="T63" fmla="*/ 294 h 392"/>
                <a:gd name="T64" fmla="*/ 261 w 371"/>
                <a:gd name="T65" fmla="*/ 294 h 392"/>
                <a:gd name="T66" fmla="*/ 255 w 371"/>
                <a:gd name="T67" fmla="*/ 149 h 392"/>
                <a:gd name="T68" fmla="*/ 236 w 371"/>
                <a:gd name="T69" fmla="*/ 169 h 392"/>
                <a:gd name="T70" fmla="*/ 228 w 371"/>
                <a:gd name="T71" fmla="*/ 194 h 392"/>
                <a:gd name="T72" fmla="*/ 218 w 371"/>
                <a:gd name="T73" fmla="*/ 206 h 392"/>
                <a:gd name="T74" fmla="*/ 205 w 371"/>
                <a:gd name="T75" fmla="*/ 137 h 392"/>
                <a:gd name="T76" fmla="*/ 170 w 371"/>
                <a:gd name="T77" fmla="*/ 156 h 392"/>
                <a:gd name="T78" fmla="*/ 152 w 371"/>
                <a:gd name="T79" fmla="*/ 188 h 392"/>
                <a:gd name="T80" fmla="*/ 87 w 371"/>
                <a:gd name="T81" fmla="*/ 206 h 392"/>
                <a:gd name="T82" fmla="*/ 95 w 371"/>
                <a:gd name="T83" fmla="*/ 108 h 392"/>
                <a:gd name="T84" fmla="*/ 124 w 371"/>
                <a:gd name="T85" fmla="*/ 119 h 392"/>
                <a:gd name="T86" fmla="*/ 174 w 371"/>
                <a:gd name="T87" fmla="*/ 124 h 392"/>
                <a:gd name="T88" fmla="*/ 236 w 371"/>
                <a:gd name="T89" fmla="*/ 115 h 392"/>
                <a:gd name="T90" fmla="*/ 261 w 371"/>
                <a:gd name="T91" fmla="*/ 103 h 392"/>
                <a:gd name="T92" fmla="*/ 272 w 371"/>
                <a:gd name="T93" fmla="*/ 294 h 392"/>
                <a:gd name="T94" fmla="*/ 352 w 371"/>
                <a:gd name="T95" fmla="*/ 29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1" h="392">
                  <a:moveTo>
                    <a:pt x="371" y="136"/>
                  </a:moveTo>
                  <a:lnTo>
                    <a:pt x="371" y="136"/>
                  </a:lnTo>
                  <a:lnTo>
                    <a:pt x="358" y="137"/>
                  </a:lnTo>
                  <a:lnTo>
                    <a:pt x="344" y="141"/>
                  </a:lnTo>
                  <a:lnTo>
                    <a:pt x="334" y="148"/>
                  </a:lnTo>
                  <a:lnTo>
                    <a:pt x="323" y="156"/>
                  </a:lnTo>
                  <a:lnTo>
                    <a:pt x="315" y="165"/>
                  </a:lnTo>
                  <a:lnTo>
                    <a:pt x="309" y="177"/>
                  </a:lnTo>
                  <a:lnTo>
                    <a:pt x="305" y="188"/>
                  </a:lnTo>
                  <a:lnTo>
                    <a:pt x="304" y="203"/>
                  </a:lnTo>
                  <a:lnTo>
                    <a:pt x="304" y="206"/>
                  </a:lnTo>
                  <a:lnTo>
                    <a:pt x="294" y="206"/>
                  </a:lnTo>
                  <a:lnTo>
                    <a:pt x="294" y="136"/>
                  </a:lnTo>
                  <a:lnTo>
                    <a:pt x="294" y="136"/>
                  </a:lnTo>
                  <a:lnTo>
                    <a:pt x="282" y="137"/>
                  </a:lnTo>
                  <a:lnTo>
                    <a:pt x="272" y="140"/>
                  </a:lnTo>
                  <a:lnTo>
                    <a:pt x="272" y="72"/>
                  </a:lnTo>
                  <a:lnTo>
                    <a:pt x="272" y="72"/>
                  </a:lnTo>
                  <a:lnTo>
                    <a:pt x="271" y="78"/>
                  </a:lnTo>
                  <a:lnTo>
                    <a:pt x="269" y="82"/>
                  </a:lnTo>
                  <a:lnTo>
                    <a:pt x="267" y="86"/>
                  </a:lnTo>
                  <a:lnTo>
                    <a:pt x="264" y="90"/>
                  </a:lnTo>
                  <a:lnTo>
                    <a:pt x="255" y="96"/>
                  </a:lnTo>
                  <a:lnTo>
                    <a:pt x="243" y="103"/>
                  </a:lnTo>
                  <a:lnTo>
                    <a:pt x="228" y="108"/>
                  </a:lnTo>
                  <a:lnTo>
                    <a:pt x="213" y="111"/>
                  </a:lnTo>
                  <a:lnTo>
                    <a:pt x="194" y="113"/>
                  </a:lnTo>
                  <a:lnTo>
                    <a:pt x="174" y="115"/>
                  </a:lnTo>
                  <a:lnTo>
                    <a:pt x="174" y="115"/>
                  </a:lnTo>
                  <a:lnTo>
                    <a:pt x="155" y="113"/>
                  </a:lnTo>
                  <a:lnTo>
                    <a:pt x="136" y="111"/>
                  </a:lnTo>
                  <a:lnTo>
                    <a:pt x="120" y="108"/>
                  </a:lnTo>
                  <a:lnTo>
                    <a:pt x="106" y="103"/>
                  </a:lnTo>
                  <a:lnTo>
                    <a:pt x="94" y="96"/>
                  </a:lnTo>
                  <a:lnTo>
                    <a:pt x="85" y="90"/>
                  </a:lnTo>
                  <a:lnTo>
                    <a:pt x="82" y="86"/>
                  </a:lnTo>
                  <a:lnTo>
                    <a:pt x="79" y="82"/>
                  </a:lnTo>
                  <a:lnTo>
                    <a:pt x="78" y="78"/>
                  </a:lnTo>
                  <a:lnTo>
                    <a:pt x="78" y="72"/>
                  </a:lnTo>
                  <a:lnTo>
                    <a:pt x="78" y="206"/>
                  </a:lnTo>
                  <a:lnTo>
                    <a:pt x="65" y="206"/>
                  </a:lnTo>
                  <a:lnTo>
                    <a:pt x="65" y="0"/>
                  </a:lnTo>
                  <a:lnTo>
                    <a:pt x="65" y="0"/>
                  </a:lnTo>
                  <a:lnTo>
                    <a:pt x="65" y="3"/>
                  </a:lnTo>
                  <a:lnTo>
                    <a:pt x="62" y="5"/>
                  </a:lnTo>
                  <a:lnTo>
                    <a:pt x="56" y="9"/>
                  </a:lnTo>
                  <a:lnTo>
                    <a:pt x="45" y="12"/>
                  </a:lnTo>
                  <a:lnTo>
                    <a:pt x="33" y="13"/>
                  </a:lnTo>
                  <a:lnTo>
                    <a:pt x="33" y="13"/>
                  </a:lnTo>
                  <a:lnTo>
                    <a:pt x="20" y="12"/>
                  </a:lnTo>
                  <a:lnTo>
                    <a:pt x="11" y="9"/>
                  </a:lnTo>
                  <a:lnTo>
                    <a:pt x="3" y="5"/>
                  </a:lnTo>
                  <a:lnTo>
                    <a:pt x="2" y="3"/>
                  </a:lnTo>
                  <a:lnTo>
                    <a:pt x="0" y="0"/>
                  </a:lnTo>
                  <a:lnTo>
                    <a:pt x="0" y="377"/>
                  </a:lnTo>
                  <a:lnTo>
                    <a:pt x="0" y="377"/>
                  </a:lnTo>
                  <a:lnTo>
                    <a:pt x="0" y="377"/>
                  </a:lnTo>
                  <a:lnTo>
                    <a:pt x="0" y="377"/>
                  </a:lnTo>
                  <a:lnTo>
                    <a:pt x="0" y="377"/>
                  </a:lnTo>
                  <a:lnTo>
                    <a:pt x="2" y="381"/>
                  </a:lnTo>
                  <a:lnTo>
                    <a:pt x="3" y="384"/>
                  </a:lnTo>
                  <a:lnTo>
                    <a:pt x="11" y="388"/>
                  </a:lnTo>
                  <a:lnTo>
                    <a:pt x="20" y="390"/>
                  </a:lnTo>
                  <a:lnTo>
                    <a:pt x="33" y="392"/>
                  </a:lnTo>
                  <a:lnTo>
                    <a:pt x="33" y="392"/>
                  </a:lnTo>
                  <a:lnTo>
                    <a:pt x="45" y="390"/>
                  </a:lnTo>
                  <a:lnTo>
                    <a:pt x="54" y="388"/>
                  </a:lnTo>
                  <a:lnTo>
                    <a:pt x="61" y="384"/>
                  </a:lnTo>
                  <a:lnTo>
                    <a:pt x="64" y="381"/>
                  </a:lnTo>
                  <a:lnTo>
                    <a:pt x="65" y="378"/>
                  </a:lnTo>
                  <a:lnTo>
                    <a:pt x="371" y="378"/>
                  </a:lnTo>
                  <a:lnTo>
                    <a:pt x="371" y="206"/>
                  </a:lnTo>
                  <a:lnTo>
                    <a:pt x="371" y="206"/>
                  </a:lnTo>
                  <a:lnTo>
                    <a:pt x="371" y="136"/>
                  </a:lnTo>
                  <a:close/>
                  <a:moveTo>
                    <a:pt x="56" y="377"/>
                  </a:moveTo>
                  <a:lnTo>
                    <a:pt x="56" y="377"/>
                  </a:lnTo>
                  <a:lnTo>
                    <a:pt x="53" y="378"/>
                  </a:lnTo>
                  <a:lnTo>
                    <a:pt x="49" y="380"/>
                  </a:lnTo>
                  <a:lnTo>
                    <a:pt x="41" y="381"/>
                  </a:lnTo>
                  <a:lnTo>
                    <a:pt x="33" y="382"/>
                  </a:lnTo>
                  <a:lnTo>
                    <a:pt x="33" y="382"/>
                  </a:lnTo>
                  <a:lnTo>
                    <a:pt x="24" y="381"/>
                  </a:lnTo>
                  <a:lnTo>
                    <a:pt x="18" y="380"/>
                  </a:lnTo>
                  <a:lnTo>
                    <a:pt x="14" y="378"/>
                  </a:lnTo>
                  <a:lnTo>
                    <a:pt x="11" y="377"/>
                  </a:lnTo>
                  <a:lnTo>
                    <a:pt x="11" y="376"/>
                  </a:lnTo>
                  <a:lnTo>
                    <a:pt x="11" y="20"/>
                  </a:lnTo>
                  <a:lnTo>
                    <a:pt x="11" y="20"/>
                  </a:lnTo>
                  <a:lnTo>
                    <a:pt x="21" y="22"/>
                  </a:lnTo>
                  <a:lnTo>
                    <a:pt x="33" y="22"/>
                  </a:lnTo>
                  <a:lnTo>
                    <a:pt x="33" y="22"/>
                  </a:lnTo>
                  <a:lnTo>
                    <a:pt x="45" y="22"/>
                  </a:lnTo>
                  <a:lnTo>
                    <a:pt x="56" y="20"/>
                  </a:lnTo>
                  <a:lnTo>
                    <a:pt x="56" y="377"/>
                  </a:lnTo>
                  <a:close/>
                  <a:moveTo>
                    <a:pt x="261" y="294"/>
                  </a:moveTo>
                  <a:lnTo>
                    <a:pt x="181" y="294"/>
                  </a:lnTo>
                  <a:lnTo>
                    <a:pt x="181" y="237"/>
                  </a:lnTo>
                  <a:lnTo>
                    <a:pt x="261" y="237"/>
                  </a:lnTo>
                  <a:lnTo>
                    <a:pt x="261" y="294"/>
                  </a:lnTo>
                  <a:close/>
                  <a:moveTo>
                    <a:pt x="261" y="145"/>
                  </a:moveTo>
                  <a:lnTo>
                    <a:pt x="261" y="145"/>
                  </a:lnTo>
                  <a:lnTo>
                    <a:pt x="255" y="149"/>
                  </a:lnTo>
                  <a:lnTo>
                    <a:pt x="248" y="154"/>
                  </a:lnTo>
                  <a:lnTo>
                    <a:pt x="242" y="161"/>
                  </a:lnTo>
                  <a:lnTo>
                    <a:pt x="236" y="169"/>
                  </a:lnTo>
                  <a:lnTo>
                    <a:pt x="232" y="177"/>
                  </a:lnTo>
                  <a:lnTo>
                    <a:pt x="230" y="185"/>
                  </a:lnTo>
                  <a:lnTo>
                    <a:pt x="228" y="194"/>
                  </a:lnTo>
                  <a:lnTo>
                    <a:pt x="227" y="203"/>
                  </a:lnTo>
                  <a:lnTo>
                    <a:pt x="227" y="206"/>
                  </a:lnTo>
                  <a:lnTo>
                    <a:pt x="218" y="206"/>
                  </a:lnTo>
                  <a:lnTo>
                    <a:pt x="218" y="136"/>
                  </a:lnTo>
                  <a:lnTo>
                    <a:pt x="218" y="136"/>
                  </a:lnTo>
                  <a:lnTo>
                    <a:pt x="205" y="137"/>
                  </a:lnTo>
                  <a:lnTo>
                    <a:pt x="192" y="141"/>
                  </a:lnTo>
                  <a:lnTo>
                    <a:pt x="181" y="148"/>
                  </a:lnTo>
                  <a:lnTo>
                    <a:pt x="170" y="156"/>
                  </a:lnTo>
                  <a:lnTo>
                    <a:pt x="163" y="165"/>
                  </a:lnTo>
                  <a:lnTo>
                    <a:pt x="156" y="177"/>
                  </a:lnTo>
                  <a:lnTo>
                    <a:pt x="152" y="188"/>
                  </a:lnTo>
                  <a:lnTo>
                    <a:pt x="151" y="203"/>
                  </a:lnTo>
                  <a:lnTo>
                    <a:pt x="151" y="206"/>
                  </a:lnTo>
                  <a:lnTo>
                    <a:pt x="87" y="206"/>
                  </a:lnTo>
                  <a:lnTo>
                    <a:pt x="87" y="103"/>
                  </a:lnTo>
                  <a:lnTo>
                    <a:pt x="87" y="103"/>
                  </a:lnTo>
                  <a:lnTo>
                    <a:pt x="95" y="108"/>
                  </a:lnTo>
                  <a:lnTo>
                    <a:pt x="103" y="112"/>
                  </a:lnTo>
                  <a:lnTo>
                    <a:pt x="114" y="115"/>
                  </a:lnTo>
                  <a:lnTo>
                    <a:pt x="124" y="119"/>
                  </a:lnTo>
                  <a:lnTo>
                    <a:pt x="148" y="123"/>
                  </a:lnTo>
                  <a:lnTo>
                    <a:pt x="174" y="124"/>
                  </a:lnTo>
                  <a:lnTo>
                    <a:pt x="174" y="124"/>
                  </a:lnTo>
                  <a:lnTo>
                    <a:pt x="201" y="123"/>
                  </a:lnTo>
                  <a:lnTo>
                    <a:pt x="224" y="119"/>
                  </a:lnTo>
                  <a:lnTo>
                    <a:pt x="236" y="115"/>
                  </a:lnTo>
                  <a:lnTo>
                    <a:pt x="246" y="112"/>
                  </a:lnTo>
                  <a:lnTo>
                    <a:pt x="255" y="108"/>
                  </a:lnTo>
                  <a:lnTo>
                    <a:pt x="261" y="103"/>
                  </a:lnTo>
                  <a:lnTo>
                    <a:pt x="261" y="145"/>
                  </a:lnTo>
                  <a:close/>
                  <a:moveTo>
                    <a:pt x="352" y="294"/>
                  </a:moveTo>
                  <a:lnTo>
                    <a:pt x="272" y="294"/>
                  </a:lnTo>
                  <a:lnTo>
                    <a:pt x="272" y="237"/>
                  </a:lnTo>
                  <a:lnTo>
                    <a:pt x="352" y="237"/>
                  </a:lnTo>
                  <a:lnTo>
                    <a:pt x="352"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69" name="Freeform 31"/>
            <p:cNvSpPr>
              <a:spLocks/>
            </p:cNvSpPr>
            <p:nvPr/>
          </p:nvSpPr>
          <p:spPr bwMode="auto">
            <a:xfrm>
              <a:off x="2898776" y="286543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70" name="Freeform 32"/>
            <p:cNvSpPr>
              <a:spLocks/>
            </p:cNvSpPr>
            <p:nvPr/>
          </p:nvSpPr>
          <p:spPr bwMode="auto">
            <a:xfrm>
              <a:off x="2795588" y="286543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grpSp>
      <p:grpSp>
        <p:nvGrpSpPr>
          <p:cNvPr id="71" name="Группа 70"/>
          <p:cNvGrpSpPr/>
          <p:nvPr/>
        </p:nvGrpSpPr>
        <p:grpSpPr>
          <a:xfrm>
            <a:off x="2539658" y="1546825"/>
            <a:ext cx="432250" cy="386750"/>
            <a:chOff x="2484438" y="1412875"/>
            <a:chExt cx="754063" cy="674688"/>
          </a:xfrm>
          <a:solidFill>
            <a:schemeClr val="accent1"/>
          </a:solidFill>
        </p:grpSpPr>
        <p:sp>
          <p:nvSpPr>
            <p:cNvPr id="72" name="Freeform 33"/>
            <p:cNvSpPr>
              <a:spLocks/>
            </p:cNvSpPr>
            <p:nvPr/>
          </p:nvSpPr>
          <p:spPr bwMode="auto">
            <a:xfrm>
              <a:off x="2484438" y="1412875"/>
              <a:ext cx="754063" cy="190500"/>
            </a:xfrm>
            <a:custGeom>
              <a:avLst/>
              <a:gdLst>
                <a:gd name="T0" fmla="*/ 472 w 475"/>
                <a:gd name="T1" fmla="*/ 111 h 120"/>
                <a:gd name="T2" fmla="*/ 239 w 475"/>
                <a:gd name="T3" fmla="*/ 1 h 120"/>
                <a:gd name="T4" fmla="*/ 237 w 475"/>
                <a:gd name="T5" fmla="*/ 0 h 120"/>
                <a:gd name="T6" fmla="*/ 3 w 475"/>
                <a:gd name="T7" fmla="*/ 111 h 120"/>
                <a:gd name="T8" fmla="*/ 3 w 475"/>
                <a:gd name="T9" fmla="*/ 111 h 120"/>
                <a:gd name="T10" fmla="*/ 0 w 475"/>
                <a:gd name="T11" fmla="*/ 113 h 120"/>
                <a:gd name="T12" fmla="*/ 0 w 475"/>
                <a:gd name="T13" fmla="*/ 117 h 120"/>
                <a:gd name="T14" fmla="*/ 0 w 475"/>
                <a:gd name="T15" fmla="*/ 117 h 120"/>
                <a:gd name="T16" fmla="*/ 3 w 475"/>
                <a:gd name="T17" fmla="*/ 120 h 120"/>
                <a:gd name="T18" fmla="*/ 7 w 475"/>
                <a:gd name="T19" fmla="*/ 119 h 120"/>
                <a:gd name="T20" fmla="*/ 237 w 475"/>
                <a:gd name="T21" fmla="*/ 11 h 120"/>
                <a:gd name="T22" fmla="*/ 468 w 475"/>
                <a:gd name="T23" fmla="*/ 119 h 120"/>
                <a:gd name="T24" fmla="*/ 468 w 475"/>
                <a:gd name="T25" fmla="*/ 119 h 120"/>
                <a:gd name="T26" fmla="*/ 469 w 475"/>
                <a:gd name="T27" fmla="*/ 120 h 120"/>
                <a:gd name="T28" fmla="*/ 469 w 475"/>
                <a:gd name="T29" fmla="*/ 120 h 120"/>
                <a:gd name="T30" fmla="*/ 472 w 475"/>
                <a:gd name="T31" fmla="*/ 119 h 120"/>
                <a:gd name="T32" fmla="*/ 473 w 475"/>
                <a:gd name="T33" fmla="*/ 117 h 120"/>
                <a:gd name="T34" fmla="*/ 473 w 475"/>
                <a:gd name="T35" fmla="*/ 117 h 120"/>
                <a:gd name="T36" fmla="*/ 475 w 475"/>
                <a:gd name="T37" fmla="*/ 113 h 120"/>
                <a:gd name="T38" fmla="*/ 472 w 475"/>
                <a:gd name="T39" fmla="*/ 111 h 120"/>
                <a:gd name="T40" fmla="*/ 472 w 475"/>
                <a:gd name="T41"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5" h="120">
                  <a:moveTo>
                    <a:pt x="472" y="111"/>
                  </a:moveTo>
                  <a:lnTo>
                    <a:pt x="239" y="1"/>
                  </a:lnTo>
                  <a:lnTo>
                    <a:pt x="237" y="0"/>
                  </a:lnTo>
                  <a:lnTo>
                    <a:pt x="3" y="111"/>
                  </a:lnTo>
                  <a:lnTo>
                    <a:pt x="3" y="111"/>
                  </a:lnTo>
                  <a:lnTo>
                    <a:pt x="0" y="113"/>
                  </a:lnTo>
                  <a:lnTo>
                    <a:pt x="0" y="117"/>
                  </a:lnTo>
                  <a:lnTo>
                    <a:pt x="0" y="117"/>
                  </a:lnTo>
                  <a:lnTo>
                    <a:pt x="3" y="120"/>
                  </a:lnTo>
                  <a:lnTo>
                    <a:pt x="7" y="119"/>
                  </a:lnTo>
                  <a:lnTo>
                    <a:pt x="237" y="11"/>
                  </a:lnTo>
                  <a:lnTo>
                    <a:pt x="468" y="119"/>
                  </a:lnTo>
                  <a:lnTo>
                    <a:pt x="468" y="119"/>
                  </a:lnTo>
                  <a:lnTo>
                    <a:pt x="469" y="120"/>
                  </a:lnTo>
                  <a:lnTo>
                    <a:pt x="469" y="120"/>
                  </a:lnTo>
                  <a:lnTo>
                    <a:pt x="472" y="119"/>
                  </a:lnTo>
                  <a:lnTo>
                    <a:pt x="473" y="117"/>
                  </a:lnTo>
                  <a:lnTo>
                    <a:pt x="473" y="117"/>
                  </a:lnTo>
                  <a:lnTo>
                    <a:pt x="475" y="113"/>
                  </a:lnTo>
                  <a:lnTo>
                    <a:pt x="472" y="111"/>
                  </a:lnTo>
                  <a:lnTo>
                    <a:pt x="472"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73" name="Freeform 34"/>
            <p:cNvSpPr>
              <a:spLocks/>
            </p:cNvSpPr>
            <p:nvPr/>
          </p:nvSpPr>
          <p:spPr bwMode="auto">
            <a:xfrm>
              <a:off x="2503488" y="1447800"/>
              <a:ext cx="712788" cy="168275"/>
            </a:xfrm>
            <a:custGeom>
              <a:avLst/>
              <a:gdLst>
                <a:gd name="T0" fmla="*/ 0 w 449"/>
                <a:gd name="T1" fmla="*/ 106 h 106"/>
                <a:gd name="T2" fmla="*/ 449 w 449"/>
                <a:gd name="T3" fmla="*/ 106 h 106"/>
                <a:gd name="T4" fmla="*/ 225 w 449"/>
                <a:gd name="T5" fmla="*/ 0 h 106"/>
                <a:gd name="T6" fmla="*/ 0 w 449"/>
                <a:gd name="T7" fmla="*/ 106 h 106"/>
              </a:gdLst>
              <a:ahLst/>
              <a:cxnLst>
                <a:cxn ang="0">
                  <a:pos x="T0" y="T1"/>
                </a:cxn>
                <a:cxn ang="0">
                  <a:pos x="T2" y="T3"/>
                </a:cxn>
                <a:cxn ang="0">
                  <a:pos x="T4" y="T5"/>
                </a:cxn>
                <a:cxn ang="0">
                  <a:pos x="T6" y="T7"/>
                </a:cxn>
              </a:cxnLst>
              <a:rect l="0" t="0" r="r" b="b"/>
              <a:pathLst>
                <a:path w="449" h="106">
                  <a:moveTo>
                    <a:pt x="0" y="106"/>
                  </a:moveTo>
                  <a:lnTo>
                    <a:pt x="449" y="106"/>
                  </a:lnTo>
                  <a:lnTo>
                    <a:pt x="225" y="0"/>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74" name="Freeform 35"/>
            <p:cNvSpPr>
              <a:spLocks noEditPoints="1"/>
            </p:cNvSpPr>
            <p:nvPr/>
          </p:nvSpPr>
          <p:spPr bwMode="auto">
            <a:xfrm>
              <a:off x="2516188" y="1641475"/>
              <a:ext cx="687388" cy="446088"/>
            </a:xfrm>
            <a:custGeom>
              <a:avLst/>
              <a:gdLst>
                <a:gd name="T0" fmla="*/ 383 w 433"/>
                <a:gd name="T1" fmla="*/ 0 h 281"/>
                <a:gd name="T2" fmla="*/ 320 w 433"/>
                <a:gd name="T3" fmla="*/ 215 h 281"/>
                <a:gd name="T4" fmla="*/ 249 w 433"/>
                <a:gd name="T5" fmla="*/ 0 h 281"/>
                <a:gd name="T6" fmla="*/ 186 w 433"/>
                <a:gd name="T7" fmla="*/ 215 h 281"/>
                <a:gd name="T8" fmla="*/ 114 w 433"/>
                <a:gd name="T9" fmla="*/ 215 h 281"/>
                <a:gd name="T10" fmla="*/ 51 w 433"/>
                <a:gd name="T11" fmla="*/ 0 h 281"/>
                <a:gd name="T12" fmla="*/ 51 w 433"/>
                <a:gd name="T13" fmla="*/ 217 h 281"/>
                <a:gd name="T14" fmla="*/ 30 w 433"/>
                <a:gd name="T15" fmla="*/ 225 h 281"/>
                <a:gd name="T16" fmla="*/ 14 w 433"/>
                <a:gd name="T17" fmla="*/ 240 h 281"/>
                <a:gd name="T18" fmla="*/ 4 w 433"/>
                <a:gd name="T19" fmla="*/ 258 h 281"/>
                <a:gd name="T20" fmla="*/ 0 w 433"/>
                <a:gd name="T21" fmla="*/ 281 h 281"/>
                <a:gd name="T22" fmla="*/ 433 w 433"/>
                <a:gd name="T23" fmla="*/ 281 h 281"/>
                <a:gd name="T24" fmla="*/ 432 w 433"/>
                <a:gd name="T25" fmla="*/ 270 h 281"/>
                <a:gd name="T26" fmla="*/ 426 w 433"/>
                <a:gd name="T27" fmla="*/ 249 h 281"/>
                <a:gd name="T28" fmla="*/ 412 w 433"/>
                <a:gd name="T29" fmla="*/ 232 h 281"/>
                <a:gd name="T30" fmla="*/ 394 w 433"/>
                <a:gd name="T31" fmla="*/ 220 h 281"/>
                <a:gd name="T32" fmla="*/ 383 w 433"/>
                <a:gd name="T33" fmla="*/ 217 h 281"/>
                <a:gd name="T34" fmla="*/ 105 w 433"/>
                <a:gd name="T35" fmla="*/ 245 h 281"/>
                <a:gd name="T36" fmla="*/ 97 w 433"/>
                <a:gd name="T37" fmla="*/ 248 h 281"/>
                <a:gd name="T38" fmla="*/ 83 w 433"/>
                <a:gd name="T39" fmla="*/ 250 h 281"/>
                <a:gd name="T40" fmla="*/ 74 w 433"/>
                <a:gd name="T41" fmla="*/ 249 h 281"/>
                <a:gd name="T42" fmla="*/ 63 w 433"/>
                <a:gd name="T43" fmla="*/ 246 h 281"/>
                <a:gd name="T44" fmla="*/ 60 w 433"/>
                <a:gd name="T45" fmla="*/ 245 h 281"/>
                <a:gd name="T46" fmla="*/ 60 w 433"/>
                <a:gd name="T47" fmla="*/ 9 h 281"/>
                <a:gd name="T48" fmla="*/ 105 w 433"/>
                <a:gd name="T49" fmla="*/ 245 h 281"/>
                <a:gd name="T50" fmla="*/ 240 w 433"/>
                <a:gd name="T51" fmla="*/ 245 h 281"/>
                <a:gd name="T52" fmla="*/ 232 w 433"/>
                <a:gd name="T53" fmla="*/ 248 h 281"/>
                <a:gd name="T54" fmla="*/ 217 w 433"/>
                <a:gd name="T55" fmla="*/ 250 h 281"/>
                <a:gd name="T56" fmla="*/ 208 w 433"/>
                <a:gd name="T57" fmla="*/ 249 h 281"/>
                <a:gd name="T58" fmla="*/ 197 w 433"/>
                <a:gd name="T59" fmla="*/ 246 h 281"/>
                <a:gd name="T60" fmla="*/ 195 w 433"/>
                <a:gd name="T61" fmla="*/ 244 h 281"/>
                <a:gd name="T62" fmla="*/ 195 w 433"/>
                <a:gd name="T63" fmla="*/ 9 h 281"/>
                <a:gd name="T64" fmla="*/ 240 w 433"/>
                <a:gd name="T65" fmla="*/ 245 h 281"/>
                <a:gd name="T66" fmla="*/ 374 w 433"/>
                <a:gd name="T67" fmla="*/ 245 h 281"/>
                <a:gd name="T68" fmla="*/ 368 w 433"/>
                <a:gd name="T69" fmla="*/ 248 h 281"/>
                <a:gd name="T70" fmla="*/ 352 w 433"/>
                <a:gd name="T71" fmla="*/ 250 h 281"/>
                <a:gd name="T72" fmla="*/ 342 w 433"/>
                <a:gd name="T73" fmla="*/ 249 h 281"/>
                <a:gd name="T74" fmla="*/ 332 w 433"/>
                <a:gd name="T75" fmla="*/ 246 h 281"/>
                <a:gd name="T76" fmla="*/ 329 w 433"/>
                <a:gd name="T77" fmla="*/ 245 h 281"/>
                <a:gd name="T78" fmla="*/ 329 w 433"/>
                <a:gd name="T79" fmla="*/ 9 h 281"/>
                <a:gd name="T80" fmla="*/ 374 w 433"/>
                <a:gd name="T81" fmla="*/ 245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3" h="281">
                  <a:moveTo>
                    <a:pt x="383" y="217"/>
                  </a:moveTo>
                  <a:lnTo>
                    <a:pt x="383" y="0"/>
                  </a:lnTo>
                  <a:lnTo>
                    <a:pt x="320" y="0"/>
                  </a:lnTo>
                  <a:lnTo>
                    <a:pt x="320" y="215"/>
                  </a:lnTo>
                  <a:lnTo>
                    <a:pt x="249" y="215"/>
                  </a:lnTo>
                  <a:lnTo>
                    <a:pt x="249" y="0"/>
                  </a:lnTo>
                  <a:lnTo>
                    <a:pt x="186" y="0"/>
                  </a:lnTo>
                  <a:lnTo>
                    <a:pt x="186" y="215"/>
                  </a:lnTo>
                  <a:lnTo>
                    <a:pt x="170" y="215"/>
                  </a:lnTo>
                  <a:lnTo>
                    <a:pt x="114" y="215"/>
                  </a:lnTo>
                  <a:lnTo>
                    <a:pt x="114" y="0"/>
                  </a:lnTo>
                  <a:lnTo>
                    <a:pt x="51" y="0"/>
                  </a:lnTo>
                  <a:lnTo>
                    <a:pt x="51" y="217"/>
                  </a:lnTo>
                  <a:lnTo>
                    <a:pt x="51" y="217"/>
                  </a:lnTo>
                  <a:lnTo>
                    <a:pt x="41" y="220"/>
                  </a:lnTo>
                  <a:lnTo>
                    <a:pt x="30" y="225"/>
                  </a:lnTo>
                  <a:lnTo>
                    <a:pt x="22" y="232"/>
                  </a:lnTo>
                  <a:lnTo>
                    <a:pt x="14" y="240"/>
                  </a:lnTo>
                  <a:lnTo>
                    <a:pt x="9" y="249"/>
                  </a:lnTo>
                  <a:lnTo>
                    <a:pt x="4" y="258"/>
                  </a:lnTo>
                  <a:lnTo>
                    <a:pt x="1" y="270"/>
                  </a:lnTo>
                  <a:lnTo>
                    <a:pt x="0" y="281"/>
                  </a:lnTo>
                  <a:lnTo>
                    <a:pt x="170" y="281"/>
                  </a:lnTo>
                  <a:lnTo>
                    <a:pt x="433" y="281"/>
                  </a:lnTo>
                  <a:lnTo>
                    <a:pt x="433" y="281"/>
                  </a:lnTo>
                  <a:lnTo>
                    <a:pt x="432" y="270"/>
                  </a:lnTo>
                  <a:lnTo>
                    <a:pt x="429" y="258"/>
                  </a:lnTo>
                  <a:lnTo>
                    <a:pt x="426" y="249"/>
                  </a:lnTo>
                  <a:lnTo>
                    <a:pt x="419" y="240"/>
                  </a:lnTo>
                  <a:lnTo>
                    <a:pt x="412" y="232"/>
                  </a:lnTo>
                  <a:lnTo>
                    <a:pt x="403" y="225"/>
                  </a:lnTo>
                  <a:lnTo>
                    <a:pt x="394" y="220"/>
                  </a:lnTo>
                  <a:lnTo>
                    <a:pt x="383" y="217"/>
                  </a:lnTo>
                  <a:lnTo>
                    <a:pt x="383" y="217"/>
                  </a:lnTo>
                  <a:close/>
                  <a:moveTo>
                    <a:pt x="105" y="245"/>
                  </a:moveTo>
                  <a:lnTo>
                    <a:pt x="105" y="245"/>
                  </a:lnTo>
                  <a:lnTo>
                    <a:pt x="103" y="246"/>
                  </a:lnTo>
                  <a:lnTo>
                    <a:pt x="97" y="248"/>
                  </a:lnTo>
                  <a:lnTo>
                    <a:pt x="91" y="249"/>
                  </a:lnTo>
                  <a:lnTo>
                    <a:pt x="83" y="250"/>
                  </a:lnTo>
                  <a:lnTo>
                    <a:pt x="83" y="250"/>
                  </a:lnTo>
                  <a:lnTo>
                    <a:pt x="74" y="249"/>
                  </a:lnTo>
                  <a:lnTo>
                    <a:pt x="67" y="248"/>
                  </a:lnTo>
                  <a:lnTo>
                    <a:pt x="63" y="246"/>
                  </a:lnTo>
                  <a:lnTo>
                    <a:pt x="60" y="245"/>
                  </a:lnTo>
                  <a:lnTo>
                    <a:pt x="60" y="245"/>
                  </a:lnTo>
                  <a:lnTo>
                    <a:pt x="60" y="244"/>
                  </a:lnTo>
                  <a:lnTo>
                    <a:pt x="60" y="9"/>
                  </a:lnTo>
                  <a:lnTo>
                    <a:pt x="105" y="9"/>
                  </a:lnTo>
                  <a:lnTo>
                    <a:pt x="105" y="245"/>
                  </a:lnTo>
                  <a:close/>
                  <a:moveTo>
                    <a:pt x="240" y="245"/>
                  </a:moveTo>
                  <a:lnTo>
                    <a:pt x="240" y="245"/>
                  </a:lnTo>
                  <a:lnTo>
                    <a:pt x="237" y="246"/>
                  </a:lnTo>
                  <a:lnTo>
                    <a:pt x="232" y="248"/>
                  </a:lnTo>
                  <a:lnTo>
                    <a:pt x="225" y="249"/>
                  </a:lnTo>
                  <a:lnTo>
                    <a:pt x="217" y="250"/>
                  </a:lnTo>
                  <a:lnTo>
                    <a:pt x="217" y="250"/>
                  </a:lnTo>
                  <a:lnTo>
                    <a:pt x="208" y="249"/>
                  </a:lnTo>
                  <a:lnTo>
                    <a:pt x="201" y="248"/>
                  </a:lnTo>
                  <a:lnTo>
                    <a:pt x="197" y="246"/>
                  </a:lnTo>
                  <a:lnTo>
                    <a:pt x="195" y="245"/>
                  </a:lnTo>
                  <a:lnTo>
                    <a:pt x="195" y="244"/>
                  </a:lnTo>
                  <a:lnTo>
                    <a:pt x="195" y="244"/>
                  </a:lnTo>
                  <a:lnTo>
                    <a:pt x="195" y="9"/>
                  </a:lnTo>
                  <a:lnTo>
                    <a:pt x="240" y="9"/>
                  </a:lnTo>
                  <a:lnTo>
                    <a:pt x="240" y="245"/>
                  </a:lnTo>
                  <a:close/>
                  <a:moveTo>
                    <a:pt x="374" y="245"/>
                  </a:moveTo>
                  <a:lnTo>
                    <a:pt x="374" y="245"/>
                  </a:lnTo>
                  <a:lnTo>
                    <a:pt x="371" y="246"/>
                  </a:lnTo>
                  <a:lnTo>
                    <a:pt x="368" y="248"/>
                  </a:lnTo>
                  <a:lnTo>
                    <a:pt x="360" y="249"/>
                  </a:lnTo>
                  <a:lnTo>
                    <a:pt x="352" y="250"/>
                  </a:lnTo>
                  <a:lnTo>
                    <a:pt x="352" y="250"/>
                  </a:lnTo>
                  <a:lnTo>
                    <a:pt x="342" y="249"/>
                  </a:lnTo>
                  <a:lnTo>
                    <a:pt x="336" y="248"/>
                  </a:lnTo>
                  <a:lnTo>
                    <a:pt x="332" y="246"/>
                  </a:lnTo>
                  <a:lnTo>
                    <a:pt x="329" y="245"/>
                  </a:lnTo>
                  <a:lnTo>
                    <a:pt x="329" y="245"/>
                  </a:lnTo>
                  <a:lnTo>
                    <a:pt x="329" y="244"/>
                  </a:lnTo>
                  <a:lnTo>
                    <a:pt x="329" y="9"/>
                  </a:lnTo>
                  <a:lnTo>
                    <a:pt x="374" y="9"/>
                  </a:lnTo>
                  <a:lnTo>
                    <a:pt x="374"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grpSp>
      <p:grpSp>
        <p:nvGrpSpPr>
          <p:cNvPr id="75" name="Группа 74"/>
          <p:cNvGrpSpPr/>
          <p:nvPr/>
        </p:nvGrpSpPr>
        <p:grpSpPr>
          <a:xfrm>
            <a:off x="5854531" y="5356399"/>
            <a:ext cx="476168" cy="429844"/>
            <a:chOff x="5084763" y="4022725"/>
            <a:chExt cx="701675" cy="633413"/>
          </a:xfrm>
          <a:solidFill>
            <a:schemeClr val="accent5"/>
          </a:solidFill>
        </p:grpSpPr>
        <p:sp>
          <p:nvSpPr>
            <p:cNvPr id="76" name="Freeform 36"/>
            <p:cNvSpPr>
              <a:spLocks/>
            </p:cNvSpPr>
            <p:nvPr/>
          </p:nvSpPr>
          <p:spPr bwMode="auto">
            <a:xfrm>
              <a:off x="5568951" y="4379913"/>
              <a:ext cx="80963" cy="109538"/>
            </a:xfrm>
            <a:custGeom>
              <a:avLst/>
              <a:gdLst>
                <a:gd name="T0" fmla="*/ 22 w 51"/>
                <a:gd name="T1" fmla="*/ 36 h 69"/>
                <a:gd name="T2" fmla="*/ 22 w 51"/>
                <a:gd name="T3" fmla="*/ 36 h 69"/>
                <a:gd name="T4" fmla="*/ 12 w 51"/>
                <a:gd name="T5" fmla="*/ 52 h 69"/>
                <a:gd name="T6" fmla="*/ 0 w 51"/>
                <a:gd name="T7" fmla="*/ 69 h 69"/>
                <a:gd name="T8" fmla="*/ 0 w 51"/>
                <a:gd name="T9" fmla="*/ 69 h 69"/>
                <a:gd name="T10" fmla="*/ 26 w 51"/>
                <a:gd name="T11" fmla="*/ 61 h 69"/>
                <a:gd name="T12" fmla="*/ 51 w 51"/>
                <a:gd name="T13" fmla="*/ 52 h 69"/>
                <a:gd name="T14" fmla="*/ 51 w 51"/>
                <a:gd name="T15" fmla="*/ 52 h 69"/>
                <a:gd name="T16" fmla="*/ 47 w 51"/>
                <a:gd name="T17" fmla="*/ 27 h 69"/>
                <a:gd name="T18" fmla="*/ 41 w 51"/>
                <a:gd name="T19" fmla="*/ 0 h 69"/>
                <a:gd name="T20" fmla="*/ 41 w 51"/>
                <a:gd name="T21" fmla="*/ 0 h 69"/>
                <a:gd name="T22" fmla="*/ 32 w 51"/>
                <a:gd name="T23" fmla="*/ 18 h 69"/>
                <a:gd name="T24" fmla="*/ 22 w 51"/>
                <a:gd name="T25" fmla="*/ 36 h 69"/>
                <a:gd name="T26" fmla="*/ 22 w 51"/>
                <a:gd name="T27" fmla="*/ 3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69">
                  <a:moveTo>
                    <a:pt x="22" y="36"/>
                  </a:moveTo>
                  <a:lnTo>
                    <a:pt x="22" y="36"/>
                  </a:lnTo>
                  <a:lnTo>
                    <a:pt x="12" y="52"/>
                  </a:lnTo>
                  <a:lnTo>
                    <a:pt x="0" y="69"/>
                  </a:lnTo>
                  <a:lnTo>
                    <a:pt x="0" y="69"/>
                  </a:lnTo>
                  <a:lnTo>
                    <a:pt x="26" y="61"/>
                  </a:lnTo>
                  <a:lnTo>
                    <a:pt x="51" y="52"/>
                  </a:lnTo>
                  <a:lnTo>
                    <a:pt x="51" y="52"/>
                  </a:lnTo>
                  <a:lnTo>
                    <a:pt x="47" y="27"/>
                  </a:lnTo>
                  <a:lnTo>
                    <a:pt x="41" y="0"/>
                  </a:lnTo>
                  <a:lnTo>
                    <a:pt x="41" y="0"/>
                  </a:lnTo>
                  <a:lnTo>
                    <a:pt x="32" y="18"/>
                  </a:lnTo>
                  <a:lnTo>
                    <a:pt x="22" y="36"/>
                  </a:lnTo>
                  <a:lnTo>
                    <a:pt x="2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77" name="Freeform 37"/>
            <p:cNvSpPr>
              <a:spLocks/>
            </p:cNvSpPr>
            <p:nvPr/>
          </p:nvSpPr>
          <p:spPr bwMode="auto">
            <a:xfrm>
              <a:off x="5537201" y="4349750"/>
              <a:ext cx="92075" cy="146050"/>
            </a:xfrm>
            <a:custGeom>
              <a:avLst/>
              <a:gdLst>
                <a:gd name="T0" fmla="*/ 15 w 58"/>
                <a:gd name="T1" fmla="*/ 89 h 92"/>
                <a:gd name="T2" fmla="*/ 15 w 58"/>
                <a:gd name="T3" fmla="*/ 89 h 92"/>
                <a:gd name="T4" fmla="*/ 27 w 58"/>
                <a:gd name="T5" fmla="*/ 71 h 92"/>
                <a:gd name="T6" fmla="*/ 38 w 58"/>
                <a:gd name="T7" fmla="*/ 52 h 92"/>
                <a:gd name="T8" fmla="*/ 38 w 58"/>
                <a:gd name="T9" fmla="*/ 52 h 92"/>
                <a:gd name="T10" fmla="*/ 49 w 58"/>
                <a:gd name="T11" fmla="*/ 33 h 92"/>
                <a:gd name="T12" fmla="*/ 58 w 58"/>
                <a:gd name="T13" fmla="*/ 13 h 92"/>
                <a:gd name="T14" fmla="*/ 58 w 58"/>
                <a:gd name="T15" fmla="*/ 13 h 92"/>
                <a:gd name="T16" fmla="*/ 53 w 58"/>
                <a:gd name="T17" fmla="*/ 0 h 92"/>
                <a:gd name="T18" fmla="*/ 53 w 58"/>
                <a:gd name="T19" fmla="*/ 0 h 92"/>
                <a:gd name="T20" fmla="*/ 42 w 58"/>
                <a:gd name="T21" fmla="*/ 23 h 92"/>
                <a:gd name="T22" fmla="*/ 30 w 58"/>
                <a:gd name="T23" fmla="*/ 47 h 92"/>
                <a:gd name="T24" fmla="*/ 30 w 58"/>
                <a:gd name="T25" fmla="*/ 47 h 92"/>
                <a:gd name="T26" fmla="*/ 16 w 58"/>
                <a:gd name="T27" fmla="*/ 71 h 92"/>
                <a:gd name="T28" fmla="*/ 0 w 58"/>
                <a:gd name="T29" fmla="*/ 92 h 92"/>
                <a:gd name="T30" fmla="*/ 0 w 58"/>
                <a:gd name="T31" fmla="*/ 92 h 92"/>
                <a:gd name="T32" fmla="*/ 15 w 58"/>
                <a:gd name="T33" fmla="*/ 89 h 92"/>
                <a:gd name="T34" fmla="*/ 15 w 58"/>
                <a:gd name="T35" fmla="*/ 8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92">
                  <a:moveTo>
                    <a:pt x="15" y="89"/>
                  </a:moveTo>
                  <a:lnTo>
                    <a:pt x="15" y="89"/>
                  </a:lnTo>
                  <a:lnTo>
                    <a:pt x="27" y="71"/>
                  </a:lnTo>
                  <a:lnTo>
                    <a:pt x="38" y="52"/>
                  </a:lnTo>
                  <a:lnTo>
                    <a:pt x="38" y="52"/>
                  </a:lnTo>
                  <a:lnTo>
                    <a:pt x="49" y="33"/>
                  </a:lnTo>
                  <a:lnTo>
                    <a:pt x="58" y="13"/>
                  </a:lnTo>
                  <a:lnTo>
                    <a:pt x="58" y="13"/>
                  </a:lnTo>
                  <a:lnTo>
                    <a:pt x="53" y="0"/>
                  </a:lnTo>
                  <a:lnTo>
                    <a:pt x="53" y="0"/>
                  </a:lnTo>
                  <a:lnTo>
                    <a:pt x="42" y="23"/>
                  </a:lnTo>
                  <a:lnTo>
                    <a:pt x="30" y="47"/>
                  </a:lnTo>
                  <a:lnTo>
                    <a:pt x="30" y="47"/>
                  </a:lnTo>
                  <a:lnTo>
                    <a:pt x="16" y="71"/>
                  </a:lnTo>
                  <a:lnTo>
                    <a:pt x="0" y="92"/>
                  </a:lnTo>
                  <a:lnTo>
                    <a:pt x="0" y="92"/>
                  </a:lnTo>
                  <a:lnTo>
                    <a:pt x="15" y="89"/>
                  </a:lnTo>
                  <a:lnTo>
                    <a:pt x="15"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78" name="Freeform 38"/>
            <p:cNvSpPr>
              <a:spLocks/>
            </p:cNvSpPr>
            <p:nvPr/>
          </p:nvSpPr>
          <p:spPr bwMode="auto">
            <a:xfrm>
              <a:off x="5637213" y="4219575"/>
              <a:ext cx="34925" cy="111125"/>
            </a:xfrm>
            <a:custGeom>
              <a:avLst/>
              <a:gdLst>
                <a:gd name="T0" fmla="*/ 22 w 22"/>
                <a:gd name="T1" fmla="*/ 4 h 70"/>
                <a:gd name="T2" fmla="*/ 22 w 22"/>
                <a:gd name="T3" fmla="*/ 4 h 70"/>
                <a:gd name="T4" fmla="*/ 15 w 22"/>
                <a:gd name="T5" fmla="*/ 0 h 70"/>
                <a:gd name="T6" fmla="*/ 15 w 22"/>
                <a:gd name="T7" fmla="*/ 0 h 70"/>
                <a:gd name="T8" fmla="*/ 12 w 22"/>
                <a:gd name="T9" fmla="*/ 0 h 70"/>
                <a:gd name="T10" fmla="*/ 12 w 22"/>
                <a:gd name="T11" fmla="*/ 0 h 70"/>
                <a:gd name="T12" fmla="*/ 7 w 22"/>
                <a:gd name="T13" fmla="*/ 28 h 70"/>
                <a:gd name="T14" fmla="*/ 0 w 22"/>
                <a:gd name="T15" fmla="*/ 55 h 70"/>
                <a:gd name="T16" fmla="*/ 0 w 22"/>
                <a:gd name="T17" fmla="*/ 55 h 70"/>
                <a:gd name="T18" fmla="*/ 6 w 22"/>
                <a:gd name="T19" fmla="*/ 70 h 70"/>
                <a:gd name="T20" fmla="*/ 6 w 22"/>
                <a:gd name="T21" fmla="*/ 70 h 70"/>
                <a:gd name="T22" fmla="*/ 11 w 22"/>
                <a:gd name="T23" fmla="*/ 53 h 70"/>
                <a:gd name="T24" fmla="*/ 16 w 22"/>
                <a:gd name="T25" fmla="*/ 37 h 70"/>
                <a:gd name="T26" fmla="*/ 19 w 22"/>
                <a:gd name="T27" fmla="*/ 20 h 70"/>
                <a:gd name="T28" fmla="*/ 22 w 22"/>
                <a:gd name="T29" fmla="*/ 4 h 70"/>
                <a:gd name="T30" fmla="*/ 22 w 22"/>
                <a:gd name="T31"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70">
                  <a:moveTo>
                    <a:pt x="22" y="4"/>
                  </a:moveTo>
                  <a:lnTo>
                    <a:pt x="22" y="4"/>
                  </a:lnTo>
                  <a:lnTo>
                    <a:pt x="15" y="0"/>
                  </a:lnTo>
                  <a:lnTo>
                    <a:pt x="15" y="0"/>
                  </a:lnTo>
                  <a:lnTo>
                    <a:pt x="12" y="0"/>
                  </a:lnTo>
                  <a:lnTo>
                    <a:pt x="12" y="0"/>
                  </a:lnTo>
                  <a:lnTo>
                    <a:pt x="7" y="28"/>
                  </a:lnTo>
                  <a:lnTo>
                    <a:pt x="0" y="55"/>
                  </a:lnTo>
                  <a:lnTo>
                    <a:pt x="0" y="55"/>
                  </a:lnTo>
                  <a:lnTo>
                    <a:pt x="6" y="70"/>
                  </a:lnTo>
                  <a:lnTo>
                    <a:pt x="6" y="70"/>
                  </a:lnTo>
                  <a:lnTo>
                    <a:pt x="11" y="53"/>
                  </a:lnTo>
                  <a:lnTo>
                    <a:pt x="16" y="37"/>
                  </a:lnTo>
                  <a:lnTo>
                    <a:pt x="19" y="20"/>
                  </a:lnTo>
                  <a:lnTo>
                    <a:pt x="22" y="4"/>
                  </a:ln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79" name="Freeform 39"/>
            <p:cNvSpPr>
              <a:spLocks/>
            </p:cNvSpPr>
            <p:nvPr/>
          </p:nvSpPr>
          <p:spPr bwMode="auto">
            <a:xfrm>
              <a:off x="5443538" y="4524375"/>
              <a:ext cx="90488" cy="76200"/>
            </a:xfrm>
            <a:custGeom>
              <a:avLst/>
              <a:gdLst>
                <a:gd name="T0" fmla="*/ 1 w 57"/>
                <a:gd name="T1" fmla="*/ 43 h 48"/>
                <a:gd name="T2" fmla="*/ 1 w 57"/>
                <a:gd name="T3" fmla="*/ 43 h 48"/>
                <a:gd name="T4" fmla="*/ 6 w 57"/>
                <a:gd name="T5" fmla="*/ 47 h 48"/>
                <a:gd name="T6" fmla="*/ 8 w 57"/>
                <a:gd name="T7" fmla="*/ 48 h 48"/>
                <a:gd name="T8" fmla="*/ 8 w 57"/>
                <a:gd name="T9" fmla="*/ 48 h 48"/>
                <a:gd name="T10" fmla="*/ 21 w 57"/>
                <a:gd name="T11" fmla="*/ 37 h 48"/>
                <a:gd name="T12" fmla="*/ 33 w 57"/>
                <a:gd name="T13" fmla="*/ 25 h 48"/>
                <a:gd name="T14" fmla="*/ 45 w 57"/>
                <a:gd name="T15" fmla="*/ 14 h 48"/>
                <a:gd name="T16" fmla="*/ 57 w 57"/>
                <a:gd name="T17" fmla="*/ 0 h 48"/>
                <a:gd name="T18" fmla="*/ 57 w 57"/>
                <a:gd name="T19" fmla="*/ 0 h 48"/>
                <a:gd name="T20" fmla="*/ 43 w 57"/>
                <a:gd name="T21" fmla="*/ 3 h 48"/>
                <a:gd name="T22" fmla="*/ 43 w 57"/>
                <a:gd name="T23" fmla="*/ 3 h 48"/>
                <a:gd name="T24" fmla="*/ 22 w 57"/>
                <a:gd name="T25" fmla="*/ 24 h 48"/>
                <a:gd name="T26" fmla="*/ 0 w 57"/>
                <a:gd name="T27" fmla="*/ 43 h 48"/>
                <a:gd name="T28" fmla="*/ 0 w 57"/>
                <a:gd name="T29" fmla="*/ 43 h 48"/>
                <a:gd name="T30" fmla="*/ 1 w 57"/>
                <a:gd name="T31" fmla="*/ 43 h 48"/>
                <a:gd name="T32" fmla="*/ 1 w 57"/>
                <a:gd name="T33" fmla="*/ 4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48">
                  <a:moveTo>
                    <a:pt x="1" y="43"/>
                  </a:moveTo>
                  <a:lnTo>
                    <a:pt x="1" y="43"/>
                  </a:lnTo>
                  <a:lnTo>
                    <a:pt x="6" y="47"/>
                  </a:lnTo>
                  <a:lnTo>
                    <a:pt x="8" y="48"/>
                  </a:lnTo>
                  <a:lnTo>
                    <a:pt x="8" y="48"/>
                  </a:lnTo>
                  <a:lnTo>
                    <a:pt x="21" y="37"/>
                  </a:lnTo>
                  <a:lnTo>
                    <a:pt x="33" y="25"/>
                  </a:lnTo>
                  <a:lnTo>
                    <a:pt x="45" y="14"/>
                  </a:lnTo>
                  <a:lnTo>
                    <a:pt x="57" y="0"/>
                  </a:lnTo>
                  <a:lnTo>
                    <a:pt x="57" y="0"/>
                  </a:lnTo>
                  <a:lnTo>
                    <a:pt x="43" y="3"/>
                  </a:lnTo>
                  <a:lnTo>
                    <a:pt x="43" y="3"/>
                  </a:lnTo>
                  <a:lnTo>
                    <a:pt x="22" y="24"/>
                  </a:lnTo>
                  <a:lnTo>
                    <a:pt x="0" y="43"/>
                  </a:lnTo>
                  <a:lnTo>
                    <a:pt x="0" y="43"/>
                  </a:lnTo>
                  <a:lnTo>
                    <a:pt x="1" y="43"/>
                  </a:lnTo>
                  <a:lnTo>
                    <a:pt x="1"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80" name="Freeform 40"/>
            <p:cNvSpPr>
              <a:spLocks/>
            </p:cNvSpPr>
            <p:nvPr/>
          </p:nvSpPr>
          <p:spPr bwMode="auto">
            <a:xfrm>
              <a:off x="5241926" y="4349750"/>
              <a:ext cx="95250" cy="146050"/>
            </a:xfrm>
            <a:custGeom>
              <a:avLst/>
              <a:gdLst>
                <a:gd name="T0" fmla="*/ 6 w 60"/>
                <a:gd name="T1" fmla="*/ 0 h 92"/>
                <a:gd name="T2" fmla="*/ 6 w 60"/>
                <a:gd name="T3" fmla="*/ 0 h 92"/>
                <a:gd name="T4" fmla="*/ 0 w 60"/>
                <a:gd name="T5" fmla="*/ 13 h 92"/>
                <a:gd name="T6" fmla="*/ 0 w 60"/>
                <a:gd name="T7" fmla="*/ 13 h 92"/>
                <a:gd name="T8" fmla="*/ 10 w 60"/>
                <a:gd name="T9" fmla="*/ 33 h 92"/>
                <a:gd name="T10" fmla="*/ 20 w 60"/>
                <a:gd name="T11" fmla="*/ 52 h 92"/>
                <a:gd name="T12" fmla="*/ 20 w 60"/>
                <a:gd name="T13" fmla="*/ 52 h 92"/>
                <a:gd name="T14" fmla="*/ 32 w 60"/>
                <a:gd name="T15" fmla="*/ 71 h 92"/>
                <a:gd name="T16" fmla="*/ 45 w 60"/>
                <a:gd name="T17" fmla="*/ 89 h 92"/>
                <a:gd name="T18" fmla="*/ 45 w 60"/>
                <a:gd name="T19" fmla="*/ 89 h 92"/>
                <a:gd name="T20" fmla="*/ 60 w 60"/>
                <a:gd name="T21" fmla="*/ 92 h 92"/>
                <a:gd name="T22" fmla="*/ 60 w 60"/>
                <a:gd name="T23" fmla="*/ 92 h 92"/>
                <a:gd name="T24" fmla="*/ 44 w 60"/>
                <a:gd name="T25" fmla="*/ 71 h 92"/>
                <a:gd name="T26" fmla="*/ 29 w 60"/>
                <a:gd name="T27" fmla="*/ 47 h 92"/>
                <a:gd name="T28" fmla="*/ 29 w 60"/>
                <a:gd name="T29" fmla="*/ 47 h 92"/>
                <a:gd name="T30" fmla="*/ 16 w 60"/>
                <a:gd name="T31" fmla="*/ 23 h 92"/>
                <a:gd name="T32" fmla="*/ 6 w 60"/>
                <a:gd name="T33" fmla="*/ 0 h 92"/>
                <a:gd name="T34" fmla="*/ 6 w 60"/>
                <a:gd name="T3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 h="92">
                  <a:moveTo>
                    <a:pt x="6" y="0"/>
                  </a:moveTo>
                  <a:lnTo>
                    <a:pt x="6" y="0"/>
                  </a:lnTo>
                  <a:lnTo>
                    <a:pt x="0" y="13"/>
                  </a:lnTo>
                  <a:lnTo>
                    <a:pt x="0" y="13"/>
                  </a:lnTo>
                  <a:lnTo>
                    <a:pt x="10" y="33"/>
                  </a:lnTo>
                  <a:lnTo>
                    <a:pt x="20" y="52"/>
                  </a:lnTo>
                  <a:lnTo>
                    <a:pt x="20" y="52"/>
                  </a:lnTo>
                  <a:lnTo>
                    <a:pt x="32" y="71"/>
                  </a:lnTo>
                  <a:lnTo>
                    <a:pt x="45" y="89"/>
                  </a:lnTo>
                  <a:lnTo>
                    <a:pt x="45" y="89"/>
                  </a:lnTo>
                  <a:lnTo>
                    <a:pt x="60" y="92"/>
                  </a:lnTo>
                  <a:lnTo>
                    <a:pt x="60" y="92"/>
                  </a:lnTo>
                  <a:lnTo>
                    <a:pt x="44" y="71"/>
                  </a:lnTo>
                  <a:lnTo>
                    <a:pt x="29" y="47"/>
                  </a:lnTo>
                  <a:lnTo>
                    <a:pt x="29" y="47"/>
                  </a:lnTo>
                  <a:lnTo>
                    <a:pt x="16" y="23"/>
                  </a:lnTo>
                  <a:lnTo>
                    <a:pt x="6"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81" name="Freeform 41"/>
            <p:cNvSpPr>
              <a:spLocks/>
            </p:cNvSpPr>
            <p:nvPr/>
          </p:nvSpPr>
          <p:spPr bwMode="auto">
            <a:xfrm>
              <a:off x="5537201" y="4184650"/>
              <a:ext cx="134938" cy="276225"/>
            </a:xfrm>
            <a:custGeom>
              <a:avLst/>
              <a:gdLst>
                <a:gd name="T0" fmla="*/ 59 w 85"/>
                <a:gd name="T1" fmla="*/ 81 h 174"/>
                <a:gd name="T2" fmla="*/ 58 w 85"/>
                <a:gd name="T3" fmla="*/ 79 h 174"/>
                <a:gd name="T4" fmla="*/ 38 w 85"/>
                <a:gd name="T5" fmla="*/ 39 h 174"/>
                <a:gd name="T6" fmla="*/ 28 w 85"/>
                <a:gd name="T7" fmla="*/ 21 h 174"/>
                <a:gd name="T8" fmla="*/ 15 w 85"/>
                <a:gd name="T9" fmla="*/ 2 h 174"/>
                <a:gd name="T10" fmla="*/ 15 w 85"/>
                <a:gd name="T11" fmla="*/ 2 h 174"/>
                <a:gd name="T12" fmla="*/ 1 w 85"/>
                <a:gd name="T13" fmla="*/ 0 h 174"/>
                <a:gd name="T14" fmla="*/ 0 w 85"/>
                <a:gd name="T15" fmla="*/ 0 h 174"/>
                <a:gd name="T16" fmla="*/ 30 w 85"/>
                <a:gd name="T17" fmla="*/ 43 h 174"/>
                <a:gd name="T18" fmla="*/ 42 w 85"/>
                <a:gd name="T19" fmla="*/ 68 h 174"/>
                <a:gd name="T20" fmla="*/ 53 w 85"/>
                <a:gd name="T21" fmla="*/ 92 h 174"/>
                <a:gd name="T22" fmla="*/ 54 w 85"/>
                <a:gd name="T23" fmla="*/ 92 h 174"/>
                <a:gd name="T24" fmla="*/ 54 w 85"/>
                <a:gd name="T25" fmla="*/ 94 h 174"/>
                <a:gd name="T26" fmla="*/ 54 w 85"/>
                <a:gd name="T27" fmla="*/ 94 h 174"/>
                <a:gd name="T28" fmla="*/ 54 w 85"/>
                <a:gd name="T29" fmla="*/ 94 h 174"/>
                <a:gd name="T30" fmla="*/ 56 w 85"/>
                <a:gd name="T31" fmla="*/ 97 h 174"/>
                <a:gd name="T32" fmla="*/ 56 w 85"/>
                <a:gd name="T33" fmla="*/ 97 h 174"/>
                <a:gd name="T34" fmla="*/ 57 w 85"/>
                <a:gd name="T35" fmla="*/ 100 h 174"/>
                <a:gd name="T36" fmla="*/ 61 w 85"/>
                <a:gd name="T37" fmla="*/ 112 h 174"/>
                <a:gd name="T38" fmla="*/ 62 w 85"/>
                <a:gd name="T39" fmla="*/ 114 h 174"/>
                <a:gd name="T40" fmla="*/ 63 w 85"/>
                <a:gd name="T41" fmla="*/ 117 h 174"/>
                <a:gd name="T42" fmla="*/ 75 w 85"/>
                <a:gd name="T43" fmla="*/ 174 h 174"/>
                <a:gd name="T44" fmla="*/ 78 w 85"/>
                <a:gd name="T45" fmla="*/ 172 h 174"/>
                <a:gd name="T46" fmla="*/ 83 w 85"/>
                <a:gd name="T47" fmla="*/ 170 h 174"/>
                <a:gd name="T48" fmla="*/ 85 w 85"/>
                <a:gd name="T49" fmla="*/ 168 h 174"/>
                <a:gd name="T50" fmla="*/ 79 w 85"/>
                <a:gd name="T51" fmla="*/ 137 h 174"/>
                <a:gd name="T52" fmla="*/ 69 w 85"/>
                <a:gd name="T53" fmla="*/ 104 h 174"/>
                <a:gd name="T54" fmla="*/ 69 w 85"/>
                <a:gd name="T55" fmla="*/ 102 h 174"/>
                <a:gd name="T56" fmla="*/ 67 w 85"/>
                <a:gd name="T57" fmla="*/ 101 h 174"/>
                <a:gd name="T58" fmla="*/ 67 w 85"/>
                <a:gd name="T59" fmla="*/ 100 h 174"/>
                <a:gd name="T60" fmla="*/ 67 w 85"/>
                <a:gd name="T61" fmla="*/ 100 h 174"/>
                <a:gd name="T62" fmla="*/ 66 w 85"/>
                <a:gd name="T63" fmla="*/ 97 h 174"/>
                <a:gd name="T64" fmla="*/ 66 w 85"/>
                <a:gd name="T65" fmla="*/ 97 h 174"/>
                <a:gd name="T66" fmla="*/ 66 w 85"/>
                <a:gd name="T67" fmla="*/ 96 h 174"/>
                <a:gd name="T68" fmla="*/ 65 w 85"/>
                <a:gd name="T69" fmla="*/ 93 h 174"/>
                <a:gd name="T70" fmla="*/ 61 w 85"/>
                <a:gd name="T71" fmla="*/ 84 h 174"/>
                <a:gd name="T72" fmla="*/ 59 w 85"/>
                <a:gd name="T73" fmla="*/ 8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5" h="174">
                  <a:moveTo>
                    <a:pt x="59" y="81"/>
                  </a:moveTo>
                  <a:lnTo>
                    <a:pt x="59" y="81"/>
                  </a:lnTo>
                  <a:lnTo>
                    <a:pt x="58" y="79"/>
                  </a:lnTo>
                  <a:lnTo>
                    <a:pt x="58" y="79"/>
                  </a:lnTo>
                  <a:lnTo>
                    <a:pt x="49" y="58"/>
                  </a:lnTo>
                  <a:lnTo>
                    <a:pt x="38" y="39"/>
                  </a:lnTo>
                  <a:lnTo>
                    <a:pt x="38" y="39"/>
                  </a:lnTo>
                  <a:lnTo>
                    <a:pt x="28" y="21"/>
                  </a:lnTo>
                  <a:lnTo>
                    <a:pt x="15" y="2"/>
                  </a:lnTo>
                  <a:lnTo>
                    <a:pt x="15" y="2"/>
                  </a:lnTo>
                  <a:lnTo>
                    <a:pt x="15" y="2"/>
                  </a:lnTo>
                  <a:lnTo>
                    <a:pt x="15" y="2"/>
                  </a:lnTo>
                  <a:lnTo>
                    <a:pt x="1" y="0"/>
                  </a:lnTo>
                  <a:lnTo>
                    <a:pt x="1" y="0"/>
                  </a:lnTo>
                  <a:lnTo>
                    <a:pt x="0" y="0"/>
                  </a:lnTo>
                  <a:lnTo>
                    <a:pt x="0" y="0"/>
                  </a:lnTo>
                  <a:lnTo>
                    <a:pt x="16" y="21"/>
                  </a:lnTo>
                  <a:lnTo>
                    <a:pt x="30" y="43"/>
                  </a:lnTo>
                  <a:lnTo>
                    <a:pt x="30" y="43"/>
                  </a:lnTo>
                  <a:lnTo>
                    <a:pt x="42" y="68"/>
                  </a:lnTo>
                  <a:lnTo>
                    <a:pt x="53" y="92"/>
                  </a:lnTo>
                  <a:lnTo>
                    <a:pt x="53" y="92"/>
                  </a:lnTo>
                  <a:lnTo>
                    <a:pt x="54" y="92"/>
                  </a:lnTo>
                  <a:lnTo>
                    <a:pt x="54" y="92"/>
                  </a:lnTo>
                  <a:lnTo>
                    <a:pt x="54" y="94"/>
                  </a:lnTo>
                  <a:lnTo>
                    <a:pt x="54" y="94"/>
                  </a:lnTo>
                  <a:lnTo>
                    <a:pt x="54" y="94"/>
                  </a:lnTo>
                  <a:lnTo>
                    <a:pt x="54" y="94"/>
                  </a:lnTo>
                  <a:lnTo>
                    <a:pt x="54" y="94"/>
                  </a:lnTo>
                  <a:lnTo>
                    <a:pt x="54" y="94"/>
                  </a:lnTo>
                  <a:lnTo>
                    <a:pt x="56" y="97"/>
                  </a:lnTo>
                  <a:lnTo>
                    <a:pt x="56" y="97"/>
                  </a:lnTo>
                  <a:lnTo>
                    <a:pt x="56" y="97"/>
                  </a:lnTo>
                  <a:lnTo>
                    <a:pt x="56" y="97"/>
                  </a:lnTo>
                  <a:lnTo>
                    <a:pt x="57" y="100"/>
                  </a:lnTo>
                  <a:lnTo>
                    <a:pt x="57" y="100"/>
                  </a:lnTo>
                  <a:lnTo>
                    <a:pt x="61" y="112"/>
                  </a:lnTo>
                  <a:lnTo>
                    <a:pt x="61" y="112"/>
                  </a:lnTo>
                  <a:lnTo>
                    <a:pt x="62" y="114"/>
                  </a:lnTo>
                  <a:lnTo>
                    <a:pt x="62" y="114"/>
                  </a:lnTo>
                  <a:lnTo>
                    <a:pt x="63" y="117"/>
                  </a:lnTo>
                  <a:lnTo>
                    <a:pt x="63" y="117"/>
                  </a:lnTo>
                  <a:lnTo>
                    <a:pt x="70" y="146"/>
                  </a:lnTo>
                  <a:lnTo>
                    <a:pt x="75" y="174"/>
                  </a:lnTo>
                  <a:lnTo>
                    <a:pt x="75" y="174"/>
                  </a:lnTo>
                  <a:lnTo>
                    <a:pt x="78" y="172"/>
                  </a:lnTo>
                  <a:lnTo>
                    <a:pt x="78" y="172"/>
                  </a:lnTo>
                  <a:lnTo>
                    <a:pt x="83" y="170"/>
                  </a:lnTo>
                  <a:lnTo>
                    <a:pt x="85" y="168"/>
                  </a:lnTo>
                  <a:lnTo>
                    <a:pt x="85" y="168"/>
                  </a:lnTo>
                  <a:lnTo>
                    <a:pt x="82" y="152"/>
                  </a:lnTo>
                  <a:lnTo>
                    <a:pt x="79" y="137"/>
                  </a:lnTo>
                  <a:lnTo>
                    <a:pt x="74" y="120"/>
                  </a:lnTo>
                  <a:lnTo>
                    <a:pt x="69" y="104"/>
                  </a:lnTo>
                  <a:lnTo>
                    <a:pt x="69" y="104"/>
                  </a:lnTo>
                  <a:lnTo>
                    <a:pt x="69" y="102"/>
                  </a:lnTo>
                  <a:lnTo>
                    <a:pt x="69" y="102"/>
                  </a:lnTo>
                  <a:lnTo>
                    <a:pt x="67" y="101"/>
                  </a:lnTo>
                  <a:lnTo>
                    <a:pt x="67" y="101"/>
                  </a:lnTo>
                  <a:lnTo>
                    <a:pt x="67" y="100"/>
                  </a:lnTo>
                  <a:lnTo>
                    <a:pt x="67" y="100"/>
                  </a:lnTo>
                  <a:lnTo>
                    <a:pt x="67" y="100"/>
                  </a:lnTo>
                  <a:lnTo>
                    <a:pt x="67" y="100"/>
                  </a:lnTo>
                  <a:lnTo>
                    <a:pt x="66" y="97"/>
                  </a:lnTo>
                  <a:lnTo>
                    <a:pt x="66" y="97"/>
                  </a:lnTo>
                  <a:lnTo>
                    <a:pt x="66" y="97"/>
                  </a:lnTo>
                  <a:lnTo>
                    <a:pt x="66" y="97"/>
                  </a:lnTo>
                  <a:lnTo>
                    <a:pt x="66" y="96"/>
                  </a:lnTo>
                  <a:lnTo>
                    <a:pt x="65" y="93"/>
                  </a:lnTo>
                  <a:lnTo>
                    <a:pt x="65" y="93"/>
                  </a:lnTo>
                  <a:lnTo>
                    <a:pt x="61" y="84"/>
                  </a:lnTo>
                  <a:lnTo>
                    <a:pt x="61" y="84"/>
                  </a:lnTo>
                  <a:lnTo>
                    <a:pt x="59" y="81"/>
                  </a:lnTo>
                  <a:lnTo>
                    <a:pt x="59"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82" name="Freeform 42"/>
            <p:cNvSpPr>
              <a:spLocks/>
            </p:cNvSpPr>
            <p:nvPr/>
          </p:nvSpPr>
          <p:spPr bwMode="auto">
            <a:xfrm>
              <a:off x="5373688" y="4043363"/>
              <a:ext cx="279400" cy="142875"/>
            </a:xfrm>
            <a:custGeom>
              <a:avLst/>
              <a:gdLst>
                <a:gd name="T0" fmla="*/ 174 w 176"/>
                <a:gd name="T1" fmla="*/ 69 h 90"/>
                <a:gd name="T2" fmla="*/ 174 w 176"/>
                <a:gd name="T3" fmla="*/ 62 h 90"/>
                <a:gd name="T4" fmla="*/ 173 w 176"/>
                <a:gd name="T5" fmla="*/ 56 h 90"/>
                <a:gd name="T6" fmla="*/ 172 w 176"/>
                <a:gd name="T7" fmla="*/ 50 h 90"/>
                <a:gd name="T8" fmla="*/ 169 w 176"/>
                <a:gd name="T9" fmla="*/ 44 h 90"/>
                <a:gd name="T10" fmla="*/ 168 w 176"/>
                <a:gd name="T11" fmla="*/ 38 h 90"/>
                <a:gd name="T12" fmla="*/ 165 w 176"/>
                <a:gd name="T13" fmla="*/ 33 h 90"/>
                <a:gd name="T14" fmla="*/ 162 w 176"/>
                <a:gd name="T15" fmla="*/ 29 h 90"/>
                <a:gd name="T16" fmla="*/ 160 w 176"/>
                <a:gd name="T17" fmla="*/ 24 h 90"/>
                <a:gd name="T18" fmla="*/ 157 w 176"/>
                <a:gd name="T19" fmla="*/ 20 h 90"/>
                <a:gd name="T20" fmla="*/ 153 w 176"/>
                <a:gd name="T21" fmla="*/ 15 h 90"/>
                <a:gd name="T22" fmla="*/ 151 w 176"/>
                <a:gd name="T23" fmla="*/ 13 h 90"/>
                <a:gd name="T24" fmla="*/ 143 w 176"/>
                <a:gd name="T25" fmla="*/ 8 h 90"/>
                <a:gd name="T26" fmla="*/ 124 w 176"/>
                <a:gd name="T27" fmla="*/ 2 h 90"/>
                <a:gd name="T28" fmla="*/ 104 w 176"/>
                <a:gd name="T29" fmla="*/ 2 h 90"/>
                <a:gd name="T30" fmla="*/ 81 w 176"/>
                <a:gd name="T31" fmla="*/ 8 h 90"/>
                <a:gd name="T32" fmla="*/ 56 w 176"/>
                <a:gd name="T33" fmla="*/ 20 h 90"/>
                <a:gd name="T34" fmla="*/ 54 w 176"/>
                <a:gd name="T35" fmla="*/ 21 h 90"/>
                <a:gd name="T36" fmla="*/ 52 w 176"/>
                <a:gd name="T37" fmla="*/ 23 h 90"/>
                <a:gd name="T38" fmla="*/ 45 w 176"/>
                <a:gd name="T39" fmla="*/ 27 h 90"/>
                <a:gd name="T40" fmla="*/ 43 w 176"/>
                <a:gd name="T41" fmla="*/ 28 h 90"/>
                <a:gd name="T42" fmla="*/ 41 w 176"/>
                <a:gd name="T43" fmla="*/ 29 h 90"/>
                <a:gd name="T44" fmla="*/ 40 w 176"/>
                <a:gd name="T45" fmla="*/ 31 h 90"/>
                <a:gd name="T46" fmla="*/ 33 w 176"/>
                <a:gd name="T47" fmla="*/ 36 h 90"/>
                <a:gd name="T48" fmla="*/ 29 w 176"/>
                <a:gd name="T49" fmla="*/ 38 h 90"/>
                <a:gd name="T50" fmla="*/ 21 w 176"/>
                <a:gd name="T51" fmla="*/ 46 h 90"/>
                <a:gd name="T52" fmla="*/ 16 w 176"/>
                <a:gd name="T53" fmla="*/ 50 h 90"/>
                <a:gd name="T54" fmla="*/ 10 w 176"/>
                <a:gd name="T55" fmla="*/ 57 h 90"/>
                <a:gd name="T56" fmla="*/ 4 w 176"/>
                <a:gd name="T57" fmla="*/ 62 h 90"/>
                <a:gd name="T58" fmla="*/ 0 w 176"/>
                <a:gd name="T59" fmla="*/ 66 h 90"/>
                <a:gd name="T60" fmla="*/ 3 w 176"/>
                <a:gd name="T61" fmla="*/ 66 h 90"/>
                <a:gd name="T62" fmla="*/ 21 w 176"/>
                <a:gd name="T63" fmla="*/ 65 h 90"/>
                <a:gd name="T64" fmla="*/ 39 w 176"/>
                <a:gd name="T65" fmla="*/ 65 h 90"/>
                <a:gd name="T66" fmla="*/ 40 w 176"/>
                <a:gd name="T67" fmla="*/ 65 h 90"/>
                <a:gd name="T68" fmla="*/ 40 w 176"/>
                <a:gd name="T69" fmla="*/ 65 h 90"/>
                <a:gd name="T70" fmla="*/ 60 w 176"/>
                <a:gd name="T71" fmla="*/ 65 h 90"/>
                <a:gd name="T72" fmla="*/ 62 w 176"/>
                <a:gd name="T73" fmla="*/ 66 h 90"/>
                <a:gd name="T74" fmla="*/ 79 w 176"/>
                <a:gd name="T75" fmla="*/ 67 h 90"/>
                <a:gd name="T76" fmla="*/ 82 w 176"/>
                <a:gd name="T77" fmla="*/ 67 h 90"/>
                <a:gd name="T78" fmla="*/ 90 w 176"/>
                <a:gd name="T79" fmla="*/ 67 h 90"/>
                <a:gd name="T80" fmla="*/ 103 w 176"/>
                <a:gd name="T81" fmla="*/ 70 h 90"/>
                <a:gd name="T82" fmla="*/ 103 w 176"/>
                <a:gd name="T83" fmla="*/ 70 h 90"/>
                <a:gd name="T84" fmla="*/ 104 w 176"/>
                <a:gd name="T85" fmla="*/ 70 h 90"/>
                <a:gd name="T86" fmla="*/ 106 w 176"/>
                <a:gd name="T87" fmla="*/ 70 h 90"/>
                <a:gd name="T88" fmla="*/ 107 w 176"/>
                <a:gd name="T89" fmla="*/ 70 h 90"/>
                <a:gd name="T90" fmla="*/ 141 w 176"/>
                <a:gd name="T91" fmla="*/ 78 h 90"/>
                <a:gd name="T92" fmla="*/ 143 w 176"/>
                <a:gd name="T93" fmla="*/ 78 h 90"/>
                <a:gd name="T94" fmla="*/ 159 w 176"/>
                <a:gd name="T95" fmla="*/ 83 h 90"/>
                <a:gd name="T96" fmla="*/ 174 w 176"/>
                <a:gd name="T97" fmla="*/ 89 h 90"/>
                <a:gd name="T98" fmla="*/ 176 w 176"/>
                <a:gd name="T99" fmla="*/ 90 h 90"/>
                <a:gd name="T100" fmla="*/ 176 w 176"/>
                <a:gd name="T101" fmla="*/ 83 h 90"/>
                <a:gd name="T102" fmla="*/ 176 w 176"/>
                <a:gd name="T103" fmla="*/ 77 h 90"/>
                <a:gd name="T104" fmla="*/ 174 w 176"/>
                <a:gd name="T105" fmla="*/ 6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6" h="90">
                  <a:moveTo>
                    <a:pt x="174" y="69"/>
                  </a:moveTo>
                  <a:lnTo>
                    <a:pt x="174" y="69"/>
                  </a:lnTo>
                  <a:lnTo>
                    <a:pt x="174" y="62"/>
                  </a:lnTo>
                  <a:lnTo>
                    <a:pt x="174" y="62"/>
                  </a:lnTo>
                  <a:lnTo>
                    <a:pt x="173" y="56"/>
                  </a:lnTo>
                  <a:lnTo>
                    <a:pt x="173" y="56"/>
                  </a:lnTo>
                  <a:lnTo>
                    <a:pt x="172" y="50"/>
                  </a:lnTo>
                  <a:lnTo>
                    <a:pt x="172" y="50"/>
                  </a:lnTo>
                  <a:lnTo>
                    <a:pt x="169" y="44"/>
                  </a:lnTo>
                  <a:lnTo>
                    <a:pt x="169" y="44"/>
                  </a:lnTo>
                  <a:lnTo>
                    <a:pt x="168" y="38"/>
                  </a:lnTo>
                  <a:lnTo>
                    <a:pt x="168" y="38"/>
                  </a:lnTo>
                  <a:lnTo>
                    <a:pt x="165" y="33"/>
                  </a:lnTo>
                  <a:lnTo>
                    <a:pt x="165" y="33"/>
                  </a:lnTo>
                  <a:lnTo>
                    <a:pt x="162" y="29"/>
                  </a:lnTo>
                  <a:lnTo>
                    <a:pt x="162" y="29"/>
                  </a:lnTo>
                  <a:lnTo>
                    <a:pt x="160" y="24"/>
                  </a:lnTo>
                  <a:lnTo>
                    <a:pt x="160" y="24"/>
                  </a:lnTo>
                  <a:lnTo>
                    <a:pt x="157" y="20"/>
                  </a:lnTo>
                  <a:lnTo>
                    <a:pt x="157" y="20"/>
                  </a:lnTo>
                  <a:lnTo>
                    <a:pt x="153" y="15"/>
                  </a:lnTo>
                  <a:lnTo>
                    <a:pt x="153" y="15"/>
                  </a:lnTo>
                  <a:lnTo>
                    <a:pt x="151" y="13"/>
                  </a:lnTo>
                  <a:lnTo>
                    <a:pt x="151" y="13"/>
                  </a:lnTo>
                  <a:lnTo>
                    <a:pt x="143" y="8"/>
                  </a:lnTo>
                  <a:lnTo>
                    <a:pt x="143" y="8"/>
                  </a:lnTo>
                  <a:lnTo>
                    <a:pt x="135" y="4"/>
                  </a:lnTo>
                  <a:lnTo>
                    <a:pt x="124" y="2"/>
                  </a:lnTo>
                  <a:lnTo>
                    <a:pt x="115" y="0"/>
                  </a:lnTo>
                  <a:lnTo>
                    <a:pt x="104" y="2"/>
                  </a:lnTo>
                  <a:lnTo>
                    <a:pt x="93" y="4"/>
                  </a:lnTo>
                  <a:lnTo>
                    <a:pt x="81" y="8"/>
                  </a:lnTo>
                  <a:lnTo>
                    <a:pt x="69" y="13"/>
                  </a:lnTo>
                  <a:lnTo>
                    <a:pt x="56" y="20"/>
                  </a:lnTo>
                  <a:lnTo>
                    <a:pt x="56" y="20"/>
                  </a:lnTo>
                  <a:lnTo>
                    <a:pt x="54" y="21"/>
                  </a:lnTo>
                  <a:lnTo>
                    <a:pt x="54" y="21"/>
                  </a:lnTo>
                  <a:lnTo>
                    <a:pt x="52" y="23"/>
                  </a:lnTo>
                  <a:lnTo>
                    <a:pt x="52" y="23"/>
                  </a:lnTo>
                  <a:lnTo>
                    <a:pt x="45" y="27"/>
                  </a:lnTo>
                  <a:lnTo>
                    <a:pt x="45" y="27"/>
                  </a:lnTo>
                  <a:lnTo>
                    <a:pt x="43" y="28"/>
                  </a:lnTo>
                  <a:lnTo>
                    <a:pt x="43" y="28"/>
                  </a:lnTo>
                  <a:lnTo>
                    <a:pt x="41" y="29"/>
                  </a:lnTo>
                  <a:lnTo>
                    <a:pt x="41" y="29"/>
                  </a:lnTo>
                  <a:lnTo>
                    <a:pt x="40" y="31"/>
                  </a:lnTo>
                  <a:lnTo>
                    <a:pt x="40" y="31"/>
                  </a:lnTo>
                  <a:lnTo>
                    <a:pt x="33" y="36"/>
                  </a:lnTo>
                  <a:lnTo>
                    <a:pt x="33" y="36"/>
                  </a:lnTo>
                  <a:lnTo>
                    <a:pt x="29" y="38"/>
                  </a:lnTo>
                  <a:lnTo>
                    <a:pt x="29" y="38"/>
                  </a:lnTo>
                  <a:lnTo>
                    <a:pt x="21" y="46"/>
                  </a:lnTo>
                  <a:lnTo>
                    <a:pt x="21" y="46"/>
                  </a:lnTo>
                  <a:lnTo>
                    <a:pt x="16" y="50"/>
                  </a:lnTo>
                  <a:lnTo>
                    <a:pt x="16" y="50"/>
                  </a:lnTo>
                  <a:lnTo>
                    <a:pt x="10" y="57"/>
                  </a:lnTo>
                  <a:lnTo>
                    <a:pt x="10" y="57"/>
                  </a:lnTo>
                  <a:lnTo>
                    <a:pt x="4" y="62"/>
                  </a:lnTo>
                  <a:lnTo>
                    <a:pt x="4" y="62"/>
                  </a:lnTo>
                  <a:lnTo>
                    <a:pt x="0" y="66"/>
                  </a:lnTo>
                  <a:lnTo>
                    <a:pt x="0" y="66"/>
                  </a:lnTo>
                  <a:lnTo>
                    <a:pt x="3" y="66"/>
                  </a:lnTo>
                  <a:lnTo>
                    <a:pt x="3" y="66"/>
                  </a:lnTo>
                  <a:lnTo>
                    <a:pt x="21" y="65"/>
                  </a:lnTo>
                  <a:lnTo>
                    <a:pt x="39" y="65"/>
                  </a:lnTo>
                  <a:lnTo>
                    <a:pt x="39" y="65"/>
                  </a:lnTo>
                  <a:lnTo>
                    <a:pt x="40" y="65"/>
                  </a:lnTo>
                  <a:lnTo>
                    <a:pt x="40" y="65"/>
                  </a:lnTo>
                  <a:lnTo>
                    <a:pt x="40" y="65"/>
                  </a:lnTo>
                  <a:lnTo>
                    <a:pt x="40" y="65"/>
                  </a:lnTo>
                  <a:lnTo>
                    <a:pt x="60" y="65"/>
                  </a:lnTo>
                  <a:lnTo>
                    <a:pt x="60" y="65"/>
                  </a:lnTo>
                  <a:lnTo>
                    <a:pt x="62" y="66"/>
                  </a:lnTo>
                  <a:lnTo>
                    <a:pt x="62" y="66"/>
                  </a:lnTo>
                  <a:lnTo>
                    <a:pt x="79" y="67"/>
                  </a:lnTo>
                  <a:lnTo>
                    <a:pt x="79" y="67"/>
                  </a:lnTo>
                  <a:lnTo>
                    <a:pt x="82" y="67"/>
                  </a:lnTo>
                  <a:lnTo>
                    <a:pt x="82" y="67"/>
                  </a:lnTo>
                  <a:lnTo>
                    <a:pt x="85" y="67"/>
                  </a:lnTo>
                  <a:lnTo>
                    <a:pt x="90" y="67"/>
                  </a:lnTo>
                  <a:lnTo>
                    <a:pt x="90" y="67"/>
                  </a:lnTo>
                  <a:lnTo>
                    <a:pt x="103" y="70"/>
                  </a:lnTo>
                  <a:lnTo>
                    <a:pt x="103" y="70"/>
                  </a:lnTo>
                  <a:lnTo>
                    <a:pt x="103" y="70"/>
                  </a:lnTo>
                  <a:lnTo>
                    <a:pt x="103" y="70"/>
                  </a:lnTo>
                  <a:lnTo>
                    <a:pt x="104" y="70"/>
                  </a:lnTo>
                  <a:lnTo>
                    <a:pt x="106" y="70"/>
                  </a:lnTo>
                  <a:lnTo>
                    <a:pt x="106" y="70"/>
                  </a:lnTo>
                  <a:lnTo>
                    <a:pt x="107" y="70"/>
                  </a:lnTo>
                  <a:lnTo>
                    <a:pt x="107" y="70"/>
                  </a:lnTo>
                  <a:lnTo>
                    <a:pt x="124" y="74"/>
                  </a:lnTo>
                  <a:lnTo>
                    <a:pt x="141" y="78"/>
                  </a:lnTo>
                  <a:lnTo>
                    <a:pt x="141" y="78"/>
                  </a:lnTo>
                  <a:lnTo>
                    <a:pt x="143" y="78"/>
                  </a:lnTo>
                  <a:lnTo>
                    <a:pt x="143" y="78"/>
                  </a:lnTo>
                  <a:lnTo>
                    <a:pt x="159" y="83"/>
                  </a:lnTo>
                  <a:lnTo>
                    <a:pt x="174" y="89"/>
                  </a:lnTo>
                  <a:lnTo>
                    <a:pt x="174" y="89"/>
                  </a:lnTo>
                  <a:lnTo>
                    <a:pt x="176" y="90"/>
                  </a:lnTo>
                  <a:lnTo>
                    <a:pt x="176" y="90"/>
                  </a:lnTo>
                  <a:lnTo>
                    <a:pt x="176" y="83"/>
                  </a:lnTo>
                  <a:lnTo>
                    <a:pt x="176" y="83"/>
                  </a:lnTo>
                  <a:lnTo>
                    <a:pt x="176" y="77"/>
                  </a:lnTo>
                  <a:lnTo>
                    <a:pt x="176" y="77"/>
                  </a:lnTo>
                  <a:lnTo>
                    <a:pt x="174" y="69"/>
                  </a:lnTo>
                  <a:lnTo>
                    <a:pt x="174"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83" name="Freeform 43"/>
            <p:cNvSpPr>
              <a:spLocks/>
            </p:cNvSpPr>
            <p:nvPr/>
          </p:nvSpPr>
          <p:spPr bwMode="auto">
            <a:xfrm>
              <a:off x="5373688" y="4529138"/>
              <a:ext cx="128588" cy="58738"/>
            </a:xfrm>
            <a:custGeom>
              <a:avLst/>
              <a:gdLst>
                <a:gd name="T0" fmla="*/ 77 w 81"/>
                <a:gd name="T1" fmla="*/ 0 h 37"/>
                <a:gd name="T2" fmla="*/ 77 w 81"/>
                <a:gd name="T3" fmla="*/ 0 h 37"/>
                <a:gd name="T4" fmla="*/ 62 w 81"/>
                <a:gd name="T5" fmla="*/ 1 h 37"/>
                <a:gd name="T6" fmla="*/ 62 w 81"/>
                <a:gd name="T7" fmla="*/ 1 h 37"/>
                <a:gd name="T8" fmla="*/ 56 w 81"/>
                <a:gd name="T9" fmla="*/ 1 h 37"/>
                <a:gd name="T10" fmla="*/ 56 w 81"/>
                <a:gd name="T11" fmla="*/ 1 h 37"/>
                <a:gd name="T12" fmla="*/ 40 w 81"/>
                <a:gd name="T13" fmla="*/ 3 h 37"/>
                <a:gd name="T14" fmla="*/ 40 w 81"/>
                <a:gd name="T15" fmla="*/ 3 h 37"/>
                <a:gd name="T16" fmla="*/ 20 w 81"/>
                <a:gd name="T17" fmla="*/ 1 h 37"/>
                <a:gd name="T18" fmla="*/ 0 w 81"/>
                <a:gd name="T19" fmla="*/ 0 h 37"/>
                <a:gd name="T20" fmla="*/ 0 w 81"/>
                <a:gd name="T21" fmla="*/ 0 h 37"/>
                <a:gd name="T22" fmla="*/ 19 w 81"/>
                <a:gd name="T23" fmla="*/ 20 h 37"/>
                <a:gd name="T24" fmla="*/ 40 w 81"/>
                <a:gd name="T25" fmla="*/ 36 h 37"/>
                <a:gd name="T26" fmla="*/ 40 w 81"/>
                <a:gd name="T27" fmla="*/ 36 h 37"/>
                <a:gd name="T28" fmla="*/ 40 w 81"/>
                <a:gd name="T29" fmla="*/ 37 h 37"/>
                <a:gd name="T30" fmla="*/ 40 w 81"/>
                <a:gd name="T31" fmla="*/ 37 h 37"/>
                <a:gd name="T32" fmla="*/ 61 w 81"/>
                <a:gd name="T33" fmla="*/ 20 h 37"/>
                <a:gd name="T34" fmla="*/ 81 w 81"/>
                <a:gd name="T35" fmla="*/ 0 h 37"/>
                <a:gd name="T36" fmla="*/ 81 w 81"/>
                <a:gd name="T37" fmla="*/ 0 h 37"/>
                <a:gd name="T38" fmla="*/ 79 w 81"/>
                <a:gd name="T39" fmla="*/ 0 h 37"/>
                <a:gd name="T40" fmla="*/ 79 w 81"/>
                <a:gd name="T41" fmla="*/ 0 h 37"/>
                <a:gd name="T42" fmla="*/ 77 w 81"/>
                <a:gd name="T43" fmla="*/ 0 h 37"/>
                <a:gd name="T44" fmla="*/ 77 w 81"/>
                <a:gd name="T4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 h="37">
                  <a:moveTo>
                    <a:pt x="77" y="0"/>
                  </a:moveTo>
                  <a:lnTo>
                    <a:pt x="77" y="0"/>
                  </a:lnTo>
                  <a:lnTo>
                    <a:pt x="62" y="1"/>
                  </a:lnTo>
                  <a:lnTo>
                    <a:pt x="62" y="1"/>
                  </a:lnTo>
                  <a:lnTo>
                    <a:pt x="56" y="1"/>
                  </a:lnTo>
                  <a:lnTo>
                    <a:pt x="56" y="1"/>
                  </a:lnTo>
                  <a:lnTo>
                    <a:pt x="40" y="3"/>
                  </a:lnTo>
                  <a:lnTo>
                    <a:pt x="40" y="3"/>
                  </a:lnTo>
                  <a:lnTo>
                    <a:pt x="20" y="1"/>
                  </a:lnTo>
                  <a:lnTo>
                    <a:pt x="0" y="0"/>
                  </a:lnTo>
                  <a:lnTo>
                    <a:pt x="0" y="0"/>
                  </a:lnTo>
                  <a:lnTo>
                    <a:pt x="19" y="20"/>
                  </a:lnTo>
                  <a:lnTo>
                    <a:pt x="40" y="36"/>
                  </a:lnTo>
                  <a:lnTo>
                    <a:pt x="40" y="36"/>
                  </a:lnTo>
                  <a:lnTo>
                    <a:pt x="40" y="37"/>
                  </a:lnTo>
                  <a:lnTo>
                    <a:pt x="40" y="37"/>
                  </a:lnTo>
                  <a:lnTo>
                    <a:pt x="61" y="20"/>
                  </a:lnTo>
                  <a:lnTo>
                    <a:pt x="81" y="0"/>
                  </a:lnTo>
                  <a:lnTo>
                    <a:pt x="81" y="0"/>
                  </a:lnTo>
                  <a:lnTo>
                    <a:pt x="79" y="0"/>
                  </a:lnTo>
                  <a:lnTo>
                    <a:pt x="79" y="0"/>
                  </a:lnTo>
                  <a:lnTo>
                    <a:pt x="77" y="0"/>
                  </a:lnTo>
                  <a:lnTo>
                    <a:pt x="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84" name="Freeform 44"/>
            <p:cNvSpPr>
              <a:spLocks/>
            </p:cNvSpPr>
            <p:nvPr/>
          </p:nvSpPr>
          <p:spPr bwMode="auto">
            <a:xfrm>
              <a:off x="5222876" y="4494213"/>
              <a:ext cx="188913" cy="139700"/>
            </a:xfrm>
            <a:custGeom>
              <a:avLst/>
              <a:gdLst>
                <a:gd name="T0" fmla="*/ 33 w 119"/>
                <a:gd name="T1" fmla="*/ 81 h 88"/>
                <a:gd name="T2" fmla="*/ 33 w 119"/>
                <a:gd name="T3" fmla="*/ 81 h 88"/>
                <a:gd name="T4" fmla="*/ 43 w 119"/>
                <a:gd name="T5" fmla="*/ 85 h 88"/>
                <a:gd name="T6" fmla="*/ 52 w 119"/>
                <a:gd name="T7" fmla="*/ 88 h 88"/>
                <a:gd name="T8" fmla="*/ 52 w 119"/>
                <a:gd name="T9" fmla="*/ 88 h 88"/>
                <a:gd name="T10" fmla="*/ 58 w 119"/>
                <a:gd name="T11" fmla="*/ 88 h 88"/>
                <a:gd name="T12" fmla="*/ 58 w 119"/>
                <a:gd name="T13" fmla="*/ 88 h 88"/>
                <a:gd name="T14" fmla="*/ 61 w 119"/>
                <a:gd name="T15" fmla="*/ 88 h 88"/>
                <a:gd name="T16" fmla="*/ 61 w 119"/>
                <a:gd name="T17" fmla="*/ 88 h 88"/>
                <a:gd name="T18" fmla="*/ 74 w 119"/>
                <a:gd name="T19" fmla="*/ 87 h 88"/>
                <a:gd name="T20" fmla="*/ 89 w 119"/>
                <a:gd name="T21" fmla="*/ 83 h 88"/>
                <a:gd name="T22" fmla="*/ 103 w 119"/>
                <a:gd name="T23" fmla="*/ 77 h 88"/>
                <a:gd name="T24" fmla="*/ 119 w 119"/>
                <a:gd name="T25" fmla="*/ 68 h 88"/>
                <a:gd name="T26" fmla="*/ 119 w 119"/>
                <a:gd name="T27" fmla="*/ 68 h 88"/>
                <a:gd name="T28" fmla="*/ 105 w 119"/>
                <a:gd name="T29" fmla="*/ 58 h 88"/>
                <a:gd name="T30" fmla="*/ 93 w 119"/>
                <a:gd name="T31" fmla="*/ 46 h 88"/>
                <a:gd name="T32" fmla="*/ 80 w 119"/>
                <a:gd name="T33" fmla="*/ 33 h 88"/>
                <a:gd name="T34" fmla="*/ 68 w 119"/>
                <a:gd name="T35" fmla="*/ 19 h 88"/>
                <a:gd name="T36" fmla="*/ 68 w 119"/>
                <a:gd name="T37" fmla="*/ 19 h 88"/>
                <a:gd name="T38" fmla="*/ 49 w 119"/>
                <a:gd name="T39" fmla="*/ 15 h 88"/>
                <a:gd name="T40" fmla="*/ 32 w 119"/>
                <a:gd name="T41" fmla="*/ 12 h 88"/>
                <a:gd name="T42" fmla="*/ 16 w 119"/>
                <a:gd name="T43" fmla="*/ 6 h 88"/>
                <a:gd name="T44" fmla="*/ 0 w 119"/>
                <a:gd name="T45" fmla="*/ 0 h 88"/>
                <a:gd name="T46" fmla="*/ 0 w 119"/>
                <a:gd name="T47" fmla="*/ 0 h 88"/>
                <a:gd name="T48" fmla="*/ 0 w 119"/>
                <a:gd name="T49" fmla="*/ 14 h 88"/>
                <a:gd name="T50" fmla="*/ 2 w 119"/>
                <a:gd name="T51" fmla="*/ 27 h 88"/>
                <a:gd name="T52" fmla="*/ 4 w 119"/>
                <a:gd name="T53" fmla="*/ 41 h 88"/>
                <a:gd name="T54" fmla="*/ 8 w 119"/>
                <a:gd name="T55" fmla="*/ 51 h 88"/>
                <a:gd name="T56" fmla="*/ 12 w 119"/>
                <a:gd name="T57" fmla="*/ 60 h 88"/>
                <a:gd name="T58" fmla="*/ 19 w 119"/>
                <a:gd name="T59" fmla="*/ 70 h 88"/>
                <a:gd name="T60" fmla="*/ 25 w 119"/>
                <a:gd name="T61" fmla="*/ 76 h 88"/>
                <a:gd name="T62" fmla="*/ 33 w 119"/>
                <a:gd name="T63" fmla="*/ 81 h 88"/>
                <a:gd name="T64" fmla="*/ 33 w 119"/>
                <a:gd name="T65" fmla="*/ 8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88">
                  <a:moveTo>
                    <a:pt x="33" y="81"/>
                  </a:moveTo>
                  <a:lnTo>
                    <a:pt x="33" y="81"/>
                  </a:lnTo>
                  <a:lnTo>
                    <a:pt x="43" y="85"/>
                  </a:lnTo>
                  <a:lnTo>
                    <a:pt x="52" y="88"/>
                  </a:lnTo>
                  <a:lnTo>
                    <a:pt x="52" y="88"/>
                  </a:lnTo>
                  <a:lnTo>
                    <a:pt x="58" y="88"/>
                  </a:lnTo>
                  <a:lnTo>
                    <a:pt x="58" y="88"/>
                  </a:lnTo>
                  <a:lnTo>
                    <a:pt x="61" y="88"/>
                  </a:lnTo>
                  <a:lnTo>
                    <a:pt x="61" y="88"/>
                  </a:lnTo>
                  <a:lnTo>
                    <a:pt x="74" y="87"/>
                  </a:lnTo>
                  <a:lnTo>
                    <a:pt x="89" y="83"/>
                  </a:lnTo>
                  <a:lnTo>
                    <a:pt x="103" y="77"/>
                  </a:lnTo>
                  <a:lnTo>
                    <a:pt x="119" y="68"/>
                  </a:lnTo>
                  <a:lnTo>
                    <a:pt x="119" y="68"/>
                  </a:lnTo>
                  <a:lnTo>
                    <a:pt x="105" y="58"/>
                  </a:lnTo>
                  <a:lnTo>
                    <a:pt x="93" y="46"/>
                  </a:lnTo>
                  <a:lnTo>
                    <a:pt x="80" y="33"/>
                  </a:lnTo>
                  <a:lnTo>
                    <a:pt x="68" y="19"/>
                  </a:lnTo>
                  <a:lnTo>
                    <a:pt x="68" y="19"/>
                  </a:lnTo>
                  <a:lnTo>
                    <a:pt x="49" y="15"/>
                  </a:lnTo>
                  <a:lnTo>
                    <a:pt x="32" y="12"/>
                  </a:lnTo>
                  <a:lnTo>
                    <a:pt x="16" y="6"/>
                  </a:lnTo>
                  <a:lnTo>
                    <a:pt x="0" y="0"/>
                  </a:lnTo>
                  <a:lnTo>
                    <a:pt x="0" y="0"/>
                  </a:lnTo>
                  <a:lnTo>
                    <a:pt x="0" y="14"/>
                  </a:lnTo>
                  <a:lnTo>
                    <a:pt x="2" y="27"/>
                  </a:lnTo>
                  <a:lnTo>
                    <a:pt x="4" y="41"/>
                  </a:lnTo>
                  <a:lnTo>
                    <a:pt x="8" y="51"/>
                  </a:lnTo>
                  <a:lnTo>
                    <a:pt x="12" y="60"/>
                  </a:lnTo>
                  <a:lnTo>
                    <a:pt x="19" y="70"/>
                  </a:lnTo>
                  <a:lnTo>
                    <a:pt x="25" y="76"/>
                  </a:lnTo>
                  <a:lnTo>
                    <a:pt x="33" y="81"/>
                  </a:lnTo>
                  <a:lnTo>
                    <a:pt x="3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85" name="Freeform 45"/>
            <p:cNvSpPr>
              <a:spLocks/>
            </p:cNvSpPr>
            <p:nvPr/>
          </p:nvSpPr>
          <p:spPr bwMode="auto">
            <a:xfrm>
              <a:off x="5221288" y="4162425"/>
              <a:ext cx="103188" cy="46038"/>
            </a:xfrm>
            <a:custGeom>
              <a:avLst/>
              <a:gdLst>
                <a:gd name="T0" fmla="*/ 0 w 65"/>
                <a:gd name="T1" fmla="*/ 27 h 29"/>
                <a:gd name="T2" fmla="*/ 0 w 65"/>
                <a:gd name="T3" fmla="*/ 27 h 29"/>
                <a:gd name="T4" fmla="*/ 0 w 65"/>
                <a:gd name="T5" fmla="*/ 27 h 29"/>
                <a:gd name="T6" fmla="*/ 0 w 65"/>
                <a:gd name="T7" fmla="*/ 28 h 29"/>
                <a:gd name="T8" fmla="*/ 0 w 65"/>
                <a:gd name="T9" fmla="*/ 28 h 29"/>
                <a:gd name="T10" fmla="*/ 0 w 65"/>
                <a:gd name="T11" fmla="*/ 29 h 29"/>
                <a:gd name="T12" fmla="*/ 0 w 65"/>
                <a:gd name="T13" fmla="*/ 29 h 29"/>
                <a:gd name="T14" fmla="*/ 26 w 65"/>
                <a:gd name="T15" fmla="*/ 20 h 29"/>
                <a:gd name="T16" fmla="*/ 55 w 65"/>
                <a:gd name="T17" fmla="*/ 12 h 29"/>
                <a:gd name="T18" fmla="*/ 58 w 65"/>
                <a:gd name="T19" fmla="*/ 8 h 29"/>
                <a:gd name="T20" fmla="*/ 58 w 65"/>
                <a:gd name="T21" fmla="*/ 8 h 29"/>
                <a:gd name="T22" fmla="*/ 65 w 65"/>
                <a:gd name="T23" fmla="*/ 0 h 29"/>
                <a:gd name="T24" fmla="*/ 65 w 65"/>
                <a:gd name="T25" fmla="*/ 0 h 29"/>
                <a:gd name="T26" fmla="*/ 48 w 65"/>
                <a:gd name="T27" fmla="*/ 3 h 29"/>
                <a:gd name="T28" fmla="*/ 30 w 65"/>
                <a:gd name="T29" fmla="*/ 8 h 29"/>
                <a:gd name="T30" fmla="*/ 15 w 65"/>
                <a:gd name="T31" fmla="*/ 14 h 29"/>
                <a:gd name="T32" fmla="*/ 0 w 65"/>
                <a:gd name="T33" fmla="*/ 19 h 29"/>
                <a:gd name="T34" fmla="*/ 0 w 65"/>
                <a:gd name="T35" fmla="*/ 19 h 29"/>
                <a:gd name="T36" fmla="*/ 0 w 65"/>
                <a:gd name="T37" fmla="*/ 27 h 29"/>
                <a:gd name="T38" fmla="*/ 0 w 65"/>
                <a:gd name="T3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29">
                  <a:moveTo>
                    <a:pt x="0" y="27"/>
                  </a:moveTo>
                  <a:lnTo>
                    <a:pt x="0" y="27"/>
                  </a:lnTo>
                  <a:lnTo>
                    <a:pt x="0" y="27"/>
                  </a:lnTo>
                  <a:lnTo>
                    <a:pt x="0" y="28"/>
                  </a:lnTo>
                  <a:lnTo>
                    <a:pt x="0" y="28"/>
                  </a:lnTo>
                  <a:lnTo>
                    <a:pt x="0" y="29"/>
                  </a:lnTo>
                  <a:lnTo>
                    <a:pt x="0" y="29"/>
                  </a:lnTo>
                  <a:lnTo>
                    <a:pt x="26" y="20"/>
                  </a:lnTo>
                  <a:lnTo>
                    <a:pt x="55" y="12"/>
                  </a:lnTo>
                  <a:lnTo>
                    <a:pt x="58" y="8"/>
                  </a:lnTo>
                  <a:lnTo>
                    <a:pt x="58" y="8"/>
                  </a:lnTo>
                  <a:lnTo>
                    <a:pt x="65" y="0"/>
                  </a:lnTo>
                  <a:lnTo>
                    <a:pt x="65" y="0"/>
                  </a:lnTo>
                  <a:lnTo>
                    <a:pt x="48" y="3"/>
                  </a:lnTo>
                  <a:lnTo>
                    <a:pt x="30" y="8"/>
                  </a:lnTo>
                  <a:lnTo>
                    <a:pt x="15" y="14"/>
                  </a:lnTo>
                  <a:lnTo>
                    <a:pt x="0" y="19"/>
                  </a:lnTo>
                  <a:lnTo>
                    <a:pt x="0" y="19"/>
                  </a:lnTo>
                  <a:lnTo>
                    <a:pt x="0" y="27"/>
                  </a:lnTo>
                  <a:lnTo>
                    <a:pt x="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86" name="Freeform 46"/>
            <p:cNvSpPr>
              <a:spLocks/>
            </p:cNvSpPr>
            <p:nvPr/>
          </p:nvSpPr>
          <p:spPr bwMode="auto">
            <a:xfrm>
              <a:off x="5084763" y="4205288"/>
              <a:ext cx="109538" cy="266700"/>
            </a:xfrm>
            <a:custGeom>
              <a:avLst/>
              <a:gdLst>
                <a:gd name="T0" fmla="*/ 69 w 69"/>
                <a:gd name="T1" fmla="*/ 10 h 168"/>
                <a:gd name="T2" fmla="*/ 69 w 69"/>
                <a:gd name="T3" fmla="*/ 9 h 168"/>
                <a:gd name="T4" fmla="*/ 69 w 69"/>
                <a:gd name="T5" fmla="*/ 9 h 168"/>
                <a:gd name="T6" fmla="*/ 68 w 69"/>
                <a:gd name="T7" fmla="*/ 2 h 168"/>
                <a:gd name="T8" fmla="*/ 68 w 69"/>
                <a:gd name="T9" fmla="*/ 0 h 168"/>
                <a:gd name="T10" fmla="*/ 68 w 69"/>
                <a:gd name="T11" fmla="*/ 0 h 168"/>
                <a:gd name="T12" fmla="*/ 53 w 69"/>
                <a:gd name="T13" fmla="*/ 9 h 168"/>
                <a:gd name="T14" fmla="*/ 39 w 69"/>
                <a:gd name="T15" fmla="*/ 18 h 168"/>
                <a:gd name="T16" fmla="*/ 28 w 69"/>
                <a:gd name="T17" fmla="*/ 27 h 168"/>
                <a:gd name="T18" fmla="*/ 18 w 69"/>
                <a:gd name="T19" fmla="*/ 38 h 168"/>
                <a:gd name="T20" fmla="*/ 11 w 69"/>
                <a:gd name="T21" fmla="*/ 50 h 168"/>
                <a:gd name="T22" fmla="*/ 6 w 69"/>
                <a:gd name="T23" fmla="*/ 60 h 168"/>
                <a:gd name="T24" fmla="*/ 2 w 69"/>
                <a:gd name="T25" fmla="*/ 72 h 168"/>
                <a:gd name="T26" fmla="*/ 0 w 69"/>
                <a:gd name="T27" fmla="*/ 84 h 168"/>
                <a:gd name="T28" fmla="*/ 0 w 69"/>
                <a:gd name="T29" fmla="*/ 84 h 168"/>
                <a:gd name="T30" fmla="*/ 2 w 69"/>
                <a:gd name="T31" fmla="*/ 96 h 168"/>
                <a:gd name="T32" fmla="*/ 6 w 69"/>
                <a:gd name="T33" fmla="*/ 108 h 168"/>
                <a:gd name="T34" fmla="*/ 11 w 69"/>
                <a:gd name="T35" fmla="*/ 120 h 168"/>
                <a:gd name="T36" fmla="*/ 19 w 69"/>
                <a:gd name="T37" fmla="*/ 130 h 168"/>
                <a:gd name="T38" fmla="*/ 28 w 69"/>
                <a:gd name="T39" fmla="*/ 141 h 168"/>
                <a:gd name="T40" fmla="*/ 39 w 69"/>
                <a:gd name="T41" fmla="*/ 151 h 168"/>
                <a:gd name="T42" fmla="*/ 53 w 69"/>
                <a:gd name="T43" fmla="*/ 161 h 168"/>
                <a:gd name="T44" fmla="*/ 68 w 69"/>
                <a:gd name="T45" fmla="*/ 168 h 168"/>
                <a:gd name="T46" fmla="*/ 68 w 69"/>
                <a:gd name="T47" fmla="*/ 168 h 168"/>
                <a:gd name="T48" fmla="*/ 68 w 69"/>
                <a:gd name="T49" fmla="*/ 167 h 168"/>
                <a:gd name="T50" fmla="*/ 68 w 69"/>
                <a:gd name="T51" fmla="*/ 167 h 168"/>
                <a:gd name="T52" fmla="*/ 69 w 69"/>
                <a:gd name="T53" fmla="*/ 161 h 168"/>
                <a:gd name="T54" fmla="*/ 69 w 69"/>
                <a:gd name="T55" fmla="*/ 158 h 168"/>
                <a:gd name="T56" fmla="*/ 69 w 69"/>
                <a:gd name="T57" fmla="*/ 158 h 168"/>
                <a:gd name="T58" fmla="*/ 56 w 69"/>
                <a:gd name="T59" fmla="*/ 150 h 168"/>
                <a:gd name="T60" fmla="*/ 44 w 69"/>
                <a:gd name="T61" fmla="*/ 142 h 168"/>
                <a:gd name="T62" fmla="*/ 33 w 69"/>
                <a:gd name="T63" fmla="*/ 133 h 168"/>
                <a:gd name="T64" fmla="*/ 25 w 69"/>
                <a:gd name="T65" fmla="*/ 124 h 168"/>
                <a:gd name="T66" fmla="*/ 19 w 69"/>
                <a:gd name="T67" fmla="*/ 114 h 168"/>
                <a:gd name="T68" fmla="*/ 15 w 69"/>
                <a:gd name="T69" fmla="*/ 105 h 168"/>
                <a:gd name="T70" fmla="*/ 12 w 69"/>
                <a:gd name="T71" fmla="*/ 95 h 168"/>
                <a:gd name="T72" fmla="*/ 11 w 69"/>
                <a:gd name="T73" fmla="*/ 84 h 168"/>
                <a:gd name="T74" fmla="*/ 11 w 69"/>
                <a:gd name="T75" fmla="*/ 84 h 168"/>
                <a:gd name="T76" fmla="*/ 12 w 69"/>
                <a:gd name="T77" fmla="*/ 75 h 168"/>
                <a:gd name="T78" fmla="*/ 15 w 69"/>
                <a:gd name="T79" fmla="*/ 64 h 168"/>
                <a:gd name="T80" fmla="*/ 19 w 69"/>
                <a:gd name="T81" fmla="*/ 55 h 168"/>
                <a:gd name="T82" fmla="*/ 25 w 69"/>
                <a:gd name="T83" fmla="*/ 45 h 168"/>
                <a:gd name="T84" fmla="*/ 33 w 69"/>
                <a:gd name="T85" fmla="*/ 35 h 168"/>
                <a:gd name="T86" fmla="*/ 44 w 69"/>
                <a:gd name="T87" fmla="*/ 27 h 168"/>
                <a:gd name="T88" fmla="*/ 56 w 69"/>
                <a:gd name="T89" fmla="*/ 18 h 168"/>
                <a:gd name="T90" fmla="*/ 69 w 69"/>
                <a:gd name="T91" fmla="*/ 10 h 168"/>
                <a:gd name="T92" fmla="*/ 69 w 69"/>
                <a:gd name="T93" fmla="*/ 1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 h="168">
                  <a:moveTo>
                    <a:pt x="69" y="10"/>
                  </a:moveTo>
                  <a:lnTo>
                    <a:pt x="69" y="9"/>
                  </a:lnTo>
                  <a:lnTo>
                    <a:pt x="69" y="9"/>
                  </a:lnTo>
                  <a:lnTo>
                    <a:pt x="68" y="2"/>
                  </a:lnTo>
                  <a:lnTo>
                    <a:pt x="68" y="0"/>
                  </a:lnTo>
                  <a:lnTo>
                    <a:pt x="68" y="0"/>
                  </a:lnTo>
                  <a:lnTo>
                    <a:pt x="53" y="9"/>
                  </a:lnTo>
                  <a:lnTo>
                    <a:pt x="39" y="18"/>
                  </a:lnTo>
                  <a:lnTo>
                    <a:pt x="28" y="27"/>
                  </a:lnTo>
                  <a:lnTo>
                    <a:pt x="18" y="38"/>
                  </a:lnTo>
                  <a:lnTo>
                    <a:pt x="11" y="50"/>
                  </a:lnTo>
                  <a:lnTo>
                    <a:pt x="6" y="60"/>
                  </a:lnTo>
                  <a:lnTo>
                    <a:pt x="2" y="72"/>
                  </a:lnTo>
                  <a:lnTo>
                    <a:pt x="0" y="84"/>
                  </a:lnTo>
                  <a:lnTo>
                    <a:pt x="0" y="84"/>
                  </a:lnTo>
                  <a:lnTo>
                    <a:pt x="2" y="96"/>
                  </a:lnTo>
                  <a:lnTo>
                    <a:pt x="6" y="108"/>
                  </a:lnTo>
                  <a:lnTo>
                    <a:pt x="11" y="120"/>
                  </a:lnTo>
                  <a:lnTo>
                    <a:pt x="19" y="130"/>
                  </a:lnTo>
                  <a:lnTo>
                    <a:pt x="28" y="141"/>
                  </a:lnTo>
                  <a:lnTo>
                    <a:pt x="39" y="151"/>
                  </a:lnTo>
                  <a:lnTo>
                    <a:pt x="53" y="161"/>
                  </a:lnTo>
                  <a:lnTo>
                    <a:pt x="68" y="168"/>
                  </a:lnTo>
                  <a:lnTo>
                    <a:pt x="68" y="168"/>
                  </a:lnTo>
                  <a:lnTo>
                    <a:pt x="68" y="167"/>
                  </a:lnTo>
                  <a:lnTo>
                    <a:pt x="68" y="167"/>
                  </a:lnTo>
                  <a:lnTo>
                    <a:pt x="69" y="161"/>
                  </a:lnTo>
                  <a:lnTo>
                    <a:pt x="69" y="158"/>
                  </a:lnTo>
                  <a:lnTo>
                    <a:pt x="69" y="158"/>
                  </a:lnTo>
                  <a:lnTo>
                    <a:pt x="56" y="150"/>
                  </a:lnTo>
                  <a:lnTo>
                    <a:pt x="44" y="142"/>
                  </a:lnTo>
                  <a:lnTo>
                    <a:pt x="33" y="133"/>
                  </a:lnTo>
                  <a:lnTo>
                    <a:pt x="25" y="124"/>
                  </a:lnTo>
                  <a:lnTo>
                    <a:pt x="19" y="114"/>
                  </a:lnTo>
                  <a:lnTo>
                    <a:pt x="15" y="105"/>
                  </a:lnTo>
                  <a:lnTo>
                    <a:pt x="12" y="95"/>
                  </a:lnTo>
                  <a:lnTo>
                    <a:pt x="11" y="84"/>
                  </a:lnTo>
                  <a:lnTo>
                    <a:pt x="11" y="84"/>
                  </a:lnTo>
                  <a:lnTo>
                    <a:pt x="12" y="75"/>
                  </a:lnTo>
                  <a:lnTo>
                    <a:pt x="15" y="64"/>
                  </a:lnTo>
                  <a:lnTo>
                    <a:pt x="19" y="55"/>
                  </a:lnTo>
                  <a:lnTo>
                    <a:pt x="25" y="45"/>
                  </a:lnTo>
                  <a:lnTo>
                    <a:pt x="33" y="35"/>
                  </a:lnTo>
                  <a:lnTo>
                    <a:pt x="44" y="27"/>
                  </a:lnTo>
                  <a:lnTo>
                    <a:pt x="56" y="18"/>
                  </a:lnTo>
                  <a:lnTo>
                    <a:pt x="69" y="10"/>
                  </a:lnTo>
                  <a:lnTo>
                    <a:pt x="6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96" name="Freeform 47"/>
            <p:cNvSpPr>
              <a:spLocks/>
            </p:cNvSpPr>
            <p:nvPr/>
          </p:nvSpPr>
          <p:spPr bwMode="auto">
            <a:xfrm>
              <a:off x="5167313" y="4022725"/>
              <a:ext cx="263525" cy="307975"/>
            </a:xfrm>
            <a:custGeom>
              <a:avLst/>
              <a:gdLst>
                <a:gd name="T0" fmla="*/ 20 w 166"/>
                <a:gd name="T1" fmla="*/ 111 h 194"/>
                <a:gd name="T2" fmla="*/ 20 w 166"/>
                <a:gd name="T3" fmla="*/ 113 h 194"/>
                <a:gd name="T4" fmla="*/ 20 w 166"/>
                <a:gd name="T5" fmla="*/ 115 h 194"/>
                <a:gd name="T6" fmla="*/ 20 w 166"/>
                <a:gd name="T7" fmla="*/ 116 h 194"/>
                <a:gd name="T8" fmla="*/ 20 w 166"/>
                <a:gd name="T9" fmla="*/ 119 h 194"/>
                <a:gd name="T10" fmla="*/ 21 w 166"/>
                <a:gd name="T11" fmla="*/ 127 h 194"/>
                <a:gd name="T12" fmla="*/ 24 w 166"/>
                <a:gd name="T13" fmla="*/ 144 h 194"/>
                <a:gd name="T14" fmla="*/ 31 w 166"/>
                <a:gd name="T15" fmla="*/ 177 h 194"/>
                <a:gd name="T16" fmla="*/ 38 w 166"/>
                <a:gd name="T17" fmla="*/ 194 h 194"/>
                <a:gd name="T18" fmla="*/ 43 w 166"/>
                <a:gd name="T19" fmla="*/ 179 h 194"/>
                <a:gd name="T20" fmla="*/ 31 w 166"/>
                <a:gd name="T21" fmla="*/ 124 h 194"/>
                <a:gd name="T22" fmla="*/ 30 w 166"/>
                <a:gd name="T23" fmla="*/ 121 h 194"/>
                <a:gd name="T24" fmla="*/ 30 w 166"/>
                <a:gd name="T25" fmla="*/ 119 h 194"/>
                <a:gd name="T26" fmla="*/ 30 w 166"/>
                <a:gd name="T27" fmla="*/ 116 h 194"/>
                <a:gd name="T28" fmla="*/ 30 w 166"/>
                <a:gd name="T29" fmla="*/ 116 h 194"/>
                <a:gd name="T30" fmla="*/ 30 w 166"/>
                <a:gd name="T31" fmla="*/ 113 h 194"/>
                <a:gd name="T32" fmla="*/ 30 w 166"/>
                <a:gd name="T33" fmla="*/ 108 h 194"/>
                <a:gd name="T34" fmla="*/ 30 w 166"/>
                <a:gd name="T35" fmla="*/ 107 h 194"/>
                <a:gd name="T36" fmla="*/ 29 w 166"/>
                <a:gd name="T37" fmla="*/ 104 h 194"/>
                <a:gd name="T38" fmla="*/ 30 w 166"/>
                <a:gd name="T39" fmla="*/ 83 h 194"/>
                <a:gd name="T40" fmla="*/ 31 w 166"/>
                <a:gd name="T41" fmla="*/ 83 h 194"/>
                <a:gd name="T42" fmla="*/ 34 w 166"/>
                <a:gd name="T43" fmla="*/ 82 h 194"/>
                <a:gd name="T44" fmla="*/ 42 w 166"/>
                <a:gd name="T45" fmla="*/ 79 h 194"/>
                <a:gd name="T46" fmla="*/ 53 w 166"/>
                <a:gd name="T47" fmla="*/ 65 h 194"/>
                <a:gd name="T48" fmla="*/ 55 w 166"/>
                <a:gd name="T49" fmla="*/ 55 h 194"/>
                <a:gd name="T50" fmla="*/ 54 w 166"/>
                <a:gd name="T51" fmla="*/ 51 h 194"/>
                <a:gd name="T52" fmla="*/ 51 w 166"/>
                <a:gd name="T53" fmla="*/ 42 h 194"/>
                <a:gd name="T54" fmla="*/ 49 w 166"/>
                <a:gd name="T55" fmla="*/ 38 h 194"/>
                <a:gd name="T56" fmla="*/ 47 w 166"/>
                <a:gd name="T57" fmla="*/ 37 h 194"/>
                <a:gd name="T58" fmla="*/ 45 w 166"/>
                <a:gd name="T59" fmla="*/ 36 h 194"/>
                <a:gd name="T60" fmla="*/ 59 w 166"/>
                <a:gd name="T61" fmla="*/ 21 h 194"/>
                <a:gd name="T62" fmla="*/ 64 w 166"/>
                <a:gd name="T63" fmla="*/ 17 h 194"/>
                <a:gd name="T64" fmla="*/ 84 w 166"/>
                <a:gd name="T65" fmla="*/ 11 h 194"/>
                <a:gd name="T66" fmla="*/ 107 w 166"/>
                <a:gd name="T67" fmla="*/ 11 h 194"/>
                <a:gd name="T68" fmla="*/ 130 w 166"/>
                <a:gd name="T69" fmla="*/ 17 h 194"/>
                <a:gd name="T70" fmla="*/ 157 w 166"/>
                <a:gd name="T71" fmla="*/ 30 h 194"/>
                <a:gd name="T72" fmla="*/ 163 w 166"/>
                <a:gd name="T73" fmla="*/ 25 h 194"/>
                <a:gd name="T74" fmla="*/ 165 w 166"/>
                <a:gd name="T75" fmla="*/ 25 h 194"/>
                <a:gd name="T76" fmla="*/ 166 w 166"/>
                <a:gd name="T77" fmla="*/ 24 h 194"/>
                <a:gd name="T78" fmla="*/ 136 w 166"/>
                <a:gd name="T79" fmla="*/ 8 h 194"/>
                <a:gd name="T80" fmla="*/ 108 w 166"/>
                <a:gd name="T81" fmla="*/ 0 h 194"/>
                <a:gd name="T82" fmla="*/ 82 w 166"/>
                <a:gd name="T83" fmla="*/ 0 h 194"/>
                <a:gd name="T84" fmla="*/ 59 w 166"/>
                <a:gd name="T85" fmla="*/ 8 h 194"/>
                <a:gd name="T86" fmla="*/ 53 w 166"/>
                <a:gd name="T87" fmla="*/ 13 h 194"/>
                <a:gd name="T88" fmla="*/ 42 w 166"/>
                <a:gd name="T89" fmla="*/ 24 h 194"/>
                <a:gd name="T90" fmla="*/ 37 w 166"/>
                <a:gd name="T91" fmla="*/ 30 h 194"/>
                <a:gd name="T92" fmla="*/ 34 w 166"/>
                <a:gd name="T93" fmla="*/ 30 h 194"/>
                <a:gd name="T94" fmla="*/ 33 w 166"/>
                <a:gd name="T95" fmla="*/ 29 h 194"/>
                <a:gd name="T96" fmla="*/ 28 w 166"/>
                <a:gd name="T97" fmla="*/ 29 h 194"/>
                <a:gd name="T98" fmla="*/ 17 w 166"/>
                <a:gd name="T99" fmla="*/ 30 h 194"/>
                <a:gd name="T100" fmla="*/ 8 w 166"/>
                <a:gd name="T101" fmla="*/ 37 h 194"/>
                <a:gd name="T102" fmla="*/ 2 w 166"/>
                <a:gd name="T103" fmla="*/ 45 h 194"/>
                <a:gd name="T104" fmla="*/ 0 w 166"/>
                <a:gd name="T105" fmla="*/ 55 h 194"/>
                <a:gd name="T106" fmla="*/ 1 w 166"/>
                <a:gd name="T107" fmla="*/ 63 h 194"/>
                <a:gd name="T108" fmla="*/ 9 w 166"/>
                <a:gd name="T109" fmla="*/ 76 h 194"/>
                <a:gd name="T110" fmla="*/ 16 w 166"/>
                <a:gd name="T111" fmla="*/ 80 h 194"/>
                <a:gd name="T112" fmla="*/ 18 w 166"/>
                <a:gd name="T113" fmla="*/ 82 h 194"/>
                <a:gd name="T114" fmla="*/ 20 w 166"/>
                <a:gd name="T115" fmla="*/ 82 h 194"/>
                <a:gd name="T116" fmla="*/ 20 w 166"/>
                <a:gd name="T117" fmla="*/ 108 h 194"/>
                <a:gd name="T118" fmla="*/ 20 w 166"/>
                <a:gd name="T119" fmla="*/ 108 h 194"/>
                <a:gd name="T120" fmla="*/ 20 w 166"/>
                <a:gd name="T121" fmla="*/ 109 h 194"/>
                <a:gd name="T122" fmla="*/ 20 w 166"/>
                <a:gd name="T123" fmla="*/ 111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6" h="194">
                  <a:moveTo>
                    <a:pt x="20" y="111"/>
                  </a:moveTo>
                  <a:lnTo>
                    <a:pt x="20" y="111"/>
                  </a:lnTo>
                  <a:lnTo>
                    <a:pt x="20" y="113"/>
                  </a:lnTo>
                  <a:lnTo>
                    <a:pt x="20" y="113"/>
                  </a:lnTo>
                  <a:lnTo>
                    <a:pt x="20" y="115"/>
                  </a:lnTo>
                  <a:lnTo>
                    <a:pt x="20" y="115"/>
                  </a:lnTo>
                  <a:lnTo>
                    <a:pt x="20" y="116"/>
                  </a:lnTo>
                  <a:lnTo>
                    <a:pt x="20" y="116"/>
                  </a:lnTo>
                  <a:lnTo>
                    <a:pt x="20" y="119"/>
                  </a:lnTo>
                  <a:lnTo>
                    <a:pt x="20" y="119"/>
                  </a:lnTo>
                  <a:lnTo>
                    <a:pt x="21" y="124"/>
                  </a:lnTo>
                  <a:lnTo>
                    <a:pt x="21" y="127"/>
                  </a:lnTo>
                  <a:lnTo>
                    <a:pt x="21" y="127"/>
                  </a:lnTo>
                  <a:lnTo>
                    <a:pt x="24" y="144"/>
                  </a:lnTo>
                  <a:lnTo>
                    <a:pt x="28" y="160"/>
                  </a:lnTo>
                  <a:lnTo>
                    <a:pt x="31" y="177"/>
                  </a:lnTo>
                  <a:lnTo>
                    <a:pt x="38" y="194"/>
                  </a:lnTo>
                  <a:lnTo>
                    <a:pt x="38" y="194"/>
                  </a:lnTo>
                  <a:lnTo>
                    <a:pt x="43" y="179"/>
                  </a:lnTo>
                  <a:lnTo>
                    <a:pt x="43" y="179"/>
                  </a:lnTo>
                  <a:lnTo>
                    <a:pt x="35" y="152"/>
                  </a:lnTo>
                  <a:lnTo>
                    <a:pt x="31" y="124"/>
                  </a:lnTo>
                  <a:lnTo>
                    <a:pt x="31" y="124"/>
                  </a:lnTo>
                  <a:lnTo>
                    <a:pt x="30" y="121"/>
                  </a:lnTo>
                  <a:lnTo>
                    <a:pt x="30" y="121"/>
                  </a:lnTo>
                  <a:lnTo>
                    <a:pt x="30" y="119"/>
                  </a:lnTo>
                  <a:lnTo>
                    <a:pt x="30" y="119"/>
                  </a:lnTo>
                  <a:lnTo>
                    <a:pt x="30" y="116"/>
                  </a:lnTo>
                  <a:lnTo>
                    <a:pt x="30" y="116"/>
                  </a:lnTo>
                  <a:lnTo>
                    <a:pt x="30" y="116"/>
                  </a:lnTo>
                  <a:lnTo>
                    <a:pt x="30" y="116"/>
                  </a:lnTo>
                  <a:lnTo>
                    <a:pt x="30" y="113"/>
                  </a:lnTo>
                  <a:lnTo>
                    <a:pt x="30" y="113"/>
                  </a:lnTo>
                  <a:lnTo>
                    <a:pt x="30" y="108"/>
                  </a:lnTo>
                  <a:lnTo>
                    <a:pt x="30" y="108"/>
                  </a:lnTo>
                  <a:lnTo>
                    <a:pt x="30" y="107"/>
                  </a:lnTo>
                  <a:lnTo>
                    <a:pt x="30" y="107"/>
                  </a:lnTo>
                  <a:lnTo>
                    <a:pt x="29" y="104"/>
                  </a:lnTo>
                  <a:lnTo>
                    <a:pt x="29" y="104"/>
                  </a:lnTo>
                  <a:lnTo>
                    <a:pt x="30" y="83"/>
                  </a:lnTo>
                  <a:lnTo>
                    <a:pt x="30" y="83"/>
                  </a:lnTo>
                  <a:lnTo>
                    <a:pt x="31" y="83"/>
                  </a:lnTo>
                  <a:lnTo>
                    <a:pt x="31" y="83"/>
                  </a:lnTo>
                  <a:lnTo>
                    <a:pt x="34" y="82"/>
                  </a:lnTo>
                  <a:lnTo>
                    <a:pt x="34" y="82"/>
                  </a:lnTo>
                  <a:lnTo>
                    <a:pt x="42" y="79"/>
                  </a:lnTo>
                  <a:lnTo>
                    <a:pt x="49" y="73"/>
                  </a:lnTo>
                  <a:lnTo>
                    <a:pt x="53" y="65"/>
                  </a:lnTo>
                  <a:lnTo>
                    <a:pt x="54" y="61"/>
                  </a:lnTo>
                  <a:lnTo>
                    <a:pt x="55" y="55"/>
                  </a:lnTo>
                  <a:lnTo>
                    <a:pt x="55" y="55"/>
                  </a:lnTo>
                  <a:lnTo>
                    <a:pt x="54" y="51"/>
                  </a:lnTo>
                  <a:lnTo>
                    <a:pt x="53" y="46"/>
                  </a:lnTo>
                  <a:lnTo>
                    <a:pt x="51" y="42"/>
                  </a:lnTo>
                  <a:lnTo>
                    <a:pt x="49" y="38"/>
                  </a:lnTo>
                  <a:lnTo>
                    <a:pt x="49" y="38"/>
                  </a:lnTo>
                  <a:lnTo>
                    <a:pt x="47" y="37"/>
                  </a:lnTo>
                  <a:lnTo>
                    <a:pt x="47" y="37"/>
                  </a:lnTo>
                  <a:lnTo>
                    <a:pt x="45" y="36"/>
                  </a:lnTo>
                  <a:lnTo>
                    <a:pt x="45" y="36"/>
                  </a:lnTo>
                  <a:lnTo>
                    <a:pt x="54" y="25"/>
                  </a:lnTo>
                  <a:lnTo>
                    <a:pt x="59" y="21"/>
                  </a:lnTo>
                  <a:lnTo>
                    <a:pt x="64" y="17"/>
                  </a:lnTo>
                  <a:lnTo>
                    <a:pt x="64" y="17"/>
                  </a:lnTo>
                  <a:lnTo>
                    <a:pt x="74" y="13"/>
                  </a:lnTo>
                  <a:lnTo>
                    <a:pt x="84" y="11"/>
                  </a:lnTo>
                  <a:lnTo>
                    <a:pt x="95" y="9"/>
                  </a:lnTo>
                  <a:lnTo>
                    <a:pt x="107" y="11"/>
                  </a:lnTo>
                  <a:lnTo>
                    <a:pt x="118" y="13"/>
                  </a:lnTo>
                  <a:lnTo>
                    <a:pt x="130" y="17"/>
                  </a:lnTo>
                  <a:lnTo>
                    <a:pt x="144" y="22"/>
                  </a:lnTo>
                  <a:lnTo>
                    <a:pt x="157" y="30"/>
                  </a:lnTo>
                  <a:lnTo>
                    <a:pt x="157" y="30"/>
                  </a:lnTo>
                  <a:lnTo>
                    <a:pt x="163" y="25"/>
                  </a:lnTo>
                  <a:lnTo>
                    <a:pt x="165" y="25"/>
                  </a:lnTo>
                  <a:lnTo>
                    <a:pt x="165" y="25"/>
                  </a:lnTo>
                  <a:lnTo>
                    <a:pt x="166" y="24"/>
                  </a:lnTo>
                  <a:lnTo>
                    <a:pt x="166" y="24"/>
                  </a:lnTo>
                  <a:lnTo>
                    <a:pt x="150" y="16"/>
                  </a:lnTo>
                  <a:lnTo>
                    <a:pt x="136" y="8"/>
                  </a:lnTo>
                  <a:lnTo>
                    <a:pt x="121" y="4"/>
                  </a:lnTo>
                  <a:lnTo>
                    <a:pt x="108" y="0"/>
                  </a:lnTo>
                  <a:lnTo>
                    <a:pt x="95" y="0"/>
                  </a:lnTo>
                  <a:lnTo>
                    <a:pt x="82" y="0"/>
                  </a:lnTo>
                  <a:lnTo>
                    <a:pt x="70" y="3"/>
                  </a:lnTo>
                  <a:lnTo>
                    <a:pt x="59" y="8"/>
                  </a:lnTo>
                  <a:lnTo>
                    <a:pt x="59" y="8"/>
                  </a:lnTo>
                  <a:lnTo>
                    <a:pt x="53" y="13"/>
                  </a:lnTo>
                  <a:lnTo>
                    <a:pt x="47" y="17"/>
                  </a:lnTo>
                  <a:lnTo>
                    <a:pt x="42" y="24"/>
                  </a:lnTo>
                  <a:lnTo>
                    <a:pt x="37" y="30"/>
                  </a:lnTo>
                  <a:lnTo>
                    <a:pt x="37" y="30"/>
                  </a:lnTo>
                  <a:lnTo>
                    <a:pt x="34" y="30"/>
                  </a:lnTo>
                  <a:lnTo>
                    <a:pt x="34" y="30"/>
                  </a:lnTo>
                  <a:lnTo>
                    <a:pt x="33" y="29"/>
                  </a:lnTo>
                  <a:lnTo>
                    <a:pt x="33" y="29"/>
                  </a:lnTo>
                  <a:lnTo>
                    <a:pt x="28" y="29"/>
                  </a:lnTo>
                  <a:lnTo>
                    <a:pt x="28" y="29"/>
                  </a:lnTo>
                  <a:lnTo>
                    <a:pt x="22" y="29"/>
                  </a:lnTo>
                  <a:lnTo>
                    <a:pt x="17" y="30"/>
                  </a:lnTo>
                  <a:lnTo>
                    <a:pt x="13" y="33"/>
                  </a:lnTo>
                  <a:lnTo>
                    <a:pt x="8" y="37"/>
                  </a:lnTo>
                  <a:lnTo>
                    <a:pt x="5" y="41"/>
                  </a:lnTo>
                  <a:lnTo>
                    <a:pt x="2" y="45"/>
                  </a:lnTo>
                  <a:lnTo>
                    <a:pt x="1" y="50"/>
                  </a:lnTo>
                  <a:lnTo>
                    <a:pt x="0" y="55"/>
                  </a:lnTo>
                  <a:lnTo>
                    <a:pt x="0" y="55"/>
                  </a:lnTo>
                  <a:lnTo>
                    <a:pt x="1" y="63"/>
                  </a:lnTo>
                  <a:lnTo>
                    <a:pt x="5" y="71"/>
                  </a:lnTo>
                  <a:lnTo>
                    <a:pt x="9" y="76"/>
                  </a:lnTo>
                  <a:lnTo>
                    <a:pt x="16" y="80"/>
                  </a:lnTo>
                  <a:lnTo>
                    <a:pt x="16" y="80"/>
                  </a:lnTo>
                  <a:lnTo>
                    <a:pt x="18" y="82"/>
                  </a:lnTo>
                  <a:lnTo>
                    <a:pt x="18" y="82"/>
                  </a:lnTo>
                  <a:lnTo>
                    <a:pt x="20" y="82"/>
                  </a:lnTo>
                  <a:lnTo>
                    <a:pt x="20" y="82"/>
                  </a:lnTo>
                  <a:lnTo>
                    <a:pt x="20" y="95"/>
                  </a:lnTo>
                  <a:lnTo>
                    <a:pt x="20" y="108"/>
                  </a:lnTo>
                  <a:lnTo>
                    <a:pt x="20" y="108"/>
                  </a:lnTo>
                  <a:lnTo>
                    <a:pt x="20" y="108"/>
                  </a:lnTo>
                  <a:lnTo>
                    <a:pt x="20" y="108"/>
                  </a:lnTo>
                  <a:lnTo>
                    <a:pt x="20" y="109"/>
                  </a:lnTo>
                  <a:lnTo>
                    <a:pt x="20" y="109"/>
                  </a:lnTo>
                  <a:lnTo>
                    <a:pt x="20" y="111"/>
                  </a:lnTo>
                  <a:lnTo>
                    <a:pt x="20"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97" name="Freeform 48"/>
            <p:cNvSpPr>
              <a:spLocks/>
            </p:cNvSpPr>
            <p:nvPr/>
          </p:nvSpPr>
          <p:spPr bwMode="auto">
            <a:xfrm>
              <a:off x="5199063" y="4022725"/>
              <a:ext cx="476250" cy="633413"/>
            </a:xfrm>
            <a:custGeom>
              <a:avLst/>
              <a:gdLst>
                <a:gd name="T0" fmla="*/ 138 w 300"/>
                <a:gd name="T1" fmla="*/ 369 h 399"/>
                <a:gd name="T2" fmla="*/ 112 w 300"/>
                <a:gd name="T3" fmla="*/ 382 h 399"/>
                <a:gd name="T4" fmla="*/ 80 w 300"/>
                <a:gd name="T5" fmla="*/ 389 h 399"/>
                <a:gd name="T6" fmla="*/ 69 w 300"/>
                <a:gd name="T7" fmla="*/ 389 h 399"/>
                <a:gd name="T8" fmla="*/ 55 w 300"/>
                <a:gd name="T9" fmla="*/ 386 h 399"/>
                <a:gd name="T10" fmla="*/ 29 w 300"/>
                <a:gd name="T11" fmla="*/ 369 h 399"/>
                <a:gd name="T12" fmla="*/ 11 w 300"/>
                <a:gd name="T13" fmla="*/ 324 h 399"/>
                <a:gd name="T14" fmla="*/ 10 w 300"/>
                <a:gd name="T15" fmla="*/ 295 h 399"/>
                <a:gd name="T16" fmla="*/ 10 w 300"/>
                <a:gd name="T17" fmla="*/ 291 h 399"/>
                <a:gd name="T18" fmla="*/ 10 w 300"/>
                <a:gd name="T19" fmla="*/ 281 h 399"/>
                <a:gd name="T20" fmla="*/ 10 w 300"/>
                <a:gd name="T21" fmla="*/ 278 h 399"/>
                <a:gd name="T22" fmla="*/ 11 w 300"/>
                <a:gd name="T23" fmla="*/ 276 h 399"/>
                <a:gd name="T24" fmla="*/ 26 w 300"/>
                <a:gd name="T25" fmla="*/ 214 h 399"/>
                <a:gd name="T26" fmla="*/ 30 w 300"/>
                <a:gd name="T27" fmla="*/ 199 h 399"/>
                <a:gd name="T28" fmla="*/ 31 w 300"/>
                <a:gd name="T29" fmla="*/ 196 h 399"/>
                <a:gd name="T30" fmla="*/ 33 w 300"/>
                <a:gd name="T31" fmla="*/ 194 h 399"/>
                <a:gd name="T32" fmla="*/ 56 w 300"/>
                <a:gd name="T33" fmla="*/ 145 h 399"/>
                <a:gd name="T34" fmla="*/ 91 w 300"/>
                <a:gd name="T35" fmla="*/ 96 h 399"/>
                <a:gd name="T36" fmla="*/ 100 w 300"/>
                <a:gd name="T37" fmla="*/ 84 h 399"/>
                <a:gd name="T38" fmla="*/ 104 w 300"/>
                <a:gd name="T39" fmla="*/ 80 h 399"/>
                <a:gd name="T40" fmla="*/ 125 w 300"/>
                <a:gd name="T41" fmla="*/ 59 h 399"/>
                <a:gd name="T42" fmla="*/ 146 w 300"/>
                <a:gd name="T43" fmla="*/ 41 h 399"/>
                <a:gd name="T44" fmla="*/ 150 w 300"/>
                <a:gd name="T45" fmla="*/ 38 h 399"/>
                <a:gd name="T46" fmla="*/ 158 w 300"/>
                <a:gd name="T47" fmla="*/ 33 h 399"/>
                <a:gd name="T48" fmla="*/ 162 w 300"/>
                <a:gd name="T49" fmla="*/ 30 h 399"/>
                <a:gd name="T50" fmla="*/ 201 w 300"/>
                <a:gd name="T51" fmla="*/ 13 h 399"/>
                <a:gd name="T52" fmla="*/ 246 w 300"/>
                <a:gd name="T53" fmla="*/ 13 h 399"/>
                <a:gd name="T54" fmla="*/ 263 w 300"/>
                <a:gd name="T55" fmla="*/ 22 h 399"/>
                <a:gd name="T56" fmla="*/ 271 w 300"/>
                <a:gd name="T57" fmla="*/ 30 h 399"/>
                <a:gd name="T58" fmla="*/ 276 w 300"/>
                <a:gd name="T59" fmla="*/ 40 h 399"/>
                <a:gd name="T60" fmla="*/ 282 w 300"/>
                <a:gd name="T61" fmla="*/ 50 h 399"/>
                <a:gd name="T62" fmla="*/ 286 w 300"/>
                <a:gd name="T63" fmla="*/ 62 h 399"/>
                <a:gd name="T64" fmla="*/ 288 w 300"/>
                <a:gd name="T65" fmla="*/ 75 h 399"/>
                <a:gd name="T66" fmla="*/ 290 w 300"/>
                <a:gd name="T67" fmla="*/ 90 h 399"/>
                <a:gd name="T68" fmla="*/ 291 w 300"/>
                <a:gd name="T69" fmla="*/ 104 h 399"/>
                <a:gd name="T70" fmla="*/ 300 w 300"/>
                <a:gd name="T71" fmla="*/ 108 h 399"/>
                <a:gd name="T72" fmla="*/ 295 w 300"/>
                <a:gd name="T73" fmla="*/ 59 h 399"/>
                <a:gd name="T74" fmla="*/ 270 w 300"/>
                <a:gd name="T75" fmla="*/ 15 h 399"/>
                <a:gd name="T76" fmla="*/ 237 w 300"/>
                <a:gd name="T77" fmla="*/ 0 h 399"/>
                <a:gd name="T78" fmla="*/ 183 w 300"/>
                <a:gd name="T79" fmla="*/ 8 h 399"/>
                <a:gd name="T80" fmla="*/ 154 w 300"/>
                <a:gd name="T81" fmla="*/ 24 h 399"/>
                <a:gd name="T82" fmla="*/ 151 w 300"/>
                <a:gd name="T83" fmla="*/ 25 h 399"/>
                <a:gd name="T84" fmla="*/ 147 w 300"/>
                <a:gd name="T85" fmla="*/ 28 h 399"/>
                <a:gd name="T86" fmla="*/ 141 w 300"/>
                <a:gd name="T87" fmla="*/ 33 h 399"/>
                <a:gd name="T88" fmla="*/ 137 w 300"/>
                <a:gd name="T89" fmla="*/ 36 h 399"/>
                <a:gd name="T90" fmla="*/ 85 w 300"/>
                <a:gd name="T91" fmla="*/ 86 h 399"/>
                <a:gd name="T92" fmla="*/ 72 w 300"/>
                <a:gd name="T93" fmla="*/ 103 h 399"/>
                <a:gd name="T94" fmla="*/ 47 w 300"/>
                <a:gd name="T95" fmla="*/ 141 h 399"/>
                <a:gd name="T96" fmla="*/ 26 w 300"/>
                <a:gd name="T97" fmla="*/ 183 h 399"/>
                <a:gd name="T98" fmla="*/ 21 w 300"/>
                <a:gd name="T99" fmla="*/ 196 h 399"/>
                <a:gd name="T100" fmla="*/ 19 w 300"/>
                <a:gd name="T101" fmla="*/ 199 h 399"/>
                <a:gd name="T102" fmla="*/ 18 w 300"/>
                <a:gd name="T103" fmla="*/ 204 h 399"/>
                <a:gd name="T104" fmla="*/ 1 w 300"/>
                <a:gd name="T105" fmla="*/ 273 h 399"/>
                <a:gd name="T106" fmla="*/ 0 w 300"/>
                <a:gd name="T107" fmla="*/ 282 h 399"/>
                <a:gd name="T108" fmla="*/ 0 w 300"/>
                <a:gd name="T109" fmla="*/ 287 h 399"/>
                <a:gd name="T110" fmla="*/ 0 w 300"/>
                <a:gd name="T111" fmla="*/ 291 h 399"/>
                <a:gd name="T112" fmla="*/ 9 w 300"/>
                <a:gd name="T113" fmla="*/ 353 h 399"/>
                <a:gd name="T114" fmla="*/ 39 w 300"/>
                <a:gd name="T115" fmla="*/ 390 h 399"/>
                <a:gd name="T116" fmla="*/ 64 w 300"/>
                <a:gd name="T117" fmla="*/ 399 h 399"/>
                <a:gd name="T118" fmla="*/ 109 w 300"/>
                <a:gd name="T119" fmla="*/ 393 h 399"/>
                <a:gd name="T120" fmla="*/ 145 w 300"/>
                <a:gd name="T121" fmla="*/ 374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0" h="399">
                  <a:moveTo>
                    <a:pt x="139" y="370"/>
                  </a:moveTo>
                  <a:lnTo>
                    <a:pt x="139" y="370"/>
                  </a:lnTo>
                  <a:lnTo>
                    <a:pt x="138" y="369"/>
                  </a:lnTo>
                  <a:lnTo>
                    <a:pt x="138" y="369"/>
                  </a:lnTo>
                  <a:lnTo>
                    <a:pt x="137" y="369"/>
                  </a:lnTo>
                  <a:lnTo>
                    <a:pt x="137" y="369"/>
                  </a:lnTo>
                  <a:lnTo>
                    <a:pt x="124" y="376"/>
                  </a:lnTo>
                  <a:lnTo>
                    <a:pt x="112" y="382"/>
                  </a:lnTo>
                  <a:lnTo>
                    <a:pt x="98" y="386"/>
                  </a:lnTo>
                  <a:lnTo>
                    <a:pt x="88" y="389"/>
                  </a:lnTo>
                  <a:lnTo>
                    <a:pt x="88" y="389"/>
                  </a:lnTo>
                  <a:lnTo>
                    <a:pt x="80" y="389"/>
                  </a:lnTo>
                  <a:lnTo>
                    <a:pt x="80" y="389"/>
                  </a:lnTo>
                  <a:lnTo>
                    <a:pt x="75" y="390"/>
                  </a:lnTo>
                  <a:lnTo>
                    <a:pt x="75" y="390"/>
                  </a:lnTo>
                  <a:lnTo>
                    <a:pt x="69" y="389"/>
                  </a:lnTo>
                  <a:lnTo>
                    <a:pt x="69" y="389"/>
                  </a:lnTo>
                  <a:lnTo>
                    <a:pt x="67" y="389"/>
                  </a:lnTo>
                  <a:lnTo>
                    <a:pt x="67" y="389"/>
                  </a:lnTo>
                  <a:lnTo>
                    <a:pt x="55" y="386"/>
                  </a:lnTo>
                  <a:lnTo>
                    <a:pt x="44" y="382"/>
                  </a:lnTo>
                  <a:lnTo>
                    <a:pt x="44" y="382"/>
                  </a:lnTo>
                  <a:lnTo>
                    <a:pt x="37" y="376"/>
                  </a:lnTo>
                  <a:lnTo>
                    <a:pt x="29" y="369"/>
                  </a:lnTo>
                  <a:lnTo>
                    <a:pt x="22" y="360"/>
                  </a:lnTo>
                  <a:lnTo>
                    <a:pt x="18" y="349"/>
                  </a:lnTo>
                  <a:lnTo>
                    <a:pt x="14" y="338"/>
                  </a:lnTo>
                  <a:lnTo>
                    <a:pt x="11" y="324"/>
                  </a:lnTo>
                  <a:lnTo>
                    <a:pt x="10" y="310"/>
                  </a:lnTo>
                  <a:lnTo>
                    <a:pt x="10" y="295"/>
                  </a:lnTo>
                  <a:lnTo>
                    <a:pt x="10" y="295"/>
                  </a:lnTo>
                  <a:lnTo>
                    <a:pt x="10" y="295"/>
                  </a:lnTo>
                  <a:lnTo>
                    <a:pt x="9" y="295"/>
                  </a:lnTo>
                  <a:lnTo>
                    <a:pt x="10" y="293"/>
                  </a:lnTo>
                  <a:lnTo>
                    <a:pt x="10" y="291"/>
                  </a:lnTo>
                  <a:lnTo>
                    <a:pt x="10" y="291"/>
                  </a:lnTo>
                  <a:lnTo>
                    <a:pt x="10" y="283"/>
                  </a:lnTo>
                  <a:lnTo>
                    <a:pt x="10" y="283"/>
                  </a:lnTo>
                  <a:lnTo>
                    <a:pt x="10" y="281"/>
                  </a:lnTo>
                  <a:lnTo>
                    <a:pt x="10" y="281"/>
                  </a:lnTo>
                  <a:lnTo>
                    <a:pt x="10" y="280"/>
                  </a:lnTo>
                  <a:lnTo>
                    <a:pt x="10" y="280"/>
                  </a:lnTo>
                  <a:lnTo>
                    <a:pt x="10" y="278"/>
                  </a:lnTo>
                  <a:lnTo>
                    <a:pt x="10" y="278"/>
                  </a:lnTo>
                  <a:lnTo>
                    <a:pt x="10" y="276"/>
                  </a:lnTo>
                  <a:lnTo>
                    <a:pt x="11" y="276"/>
                  </a:lnTo>
                  <a:lnTo>
                    <a:pt x="11" y="276"/>
                  </a:lnTo>
                  <a:lnTo>
                    <a:pt x="11" y="276"/>
                  </a:lnTo>
                  <a:lnTo>
                    <a:pt x="13" y="260"/>
                  </a:lnTo>
                  <a:lnTo>
                    <a:pt x="17" y="245"/>
                  </a:lnTo>
                  <a:lnTo>
                    <a:pt x="21" y="229"/>
                  </a:lnTo>
                  <a:lnTo>
                    <a:pt x="26" y="214"/>
                  </a:lnTo>
                  <a:lnTo>
                    <a:pt x="26" y="214"/>
                  </a:lnTo>
                  <a:lnTo>
                    <a:pt x="30" y="202"/>
                  </a:lnTo>
                  <a:lnTo>
                    <a:pt x="30" y="202"/>
                  </a:lnTo>
                  <a:lnTo>
                    <a:pt x="30" y="199"/>
                  </a:lnTo>
                  <a:lnTo>
                    <a:pt x="30" y="199"/>
                  </a:lnTo>
                  <a:lnTo>
                    <a:pt x="30" y="199"/>
                  </a:lnTo>
                  <a:lnTo>
                    <a:pt x="30" y="199"/>
                  </a:lnTo>
                  <a:lnTo>
                    <a:pt x="31" y="196"/>
                  </a:lnTo>
                  <a:lnTo>
                    <a:pt x="31" y="196"/>
                  </a:lnTo>
                  <a:lnTo>
                    <a:pt x="31" y="196"/>
                  </a:lnTo>
                  <a:lnTo>
                    <a:pt x="31" y="196"/>
                  </a:lnTo>
                  <a:lnTo>
                    <a:pt x="33" y="194"/>
                  </a:lnTo>
                  <a:lnTo>
                    <a:pt x="33" y="194"/>
                  </a:lnTo>
                  <a:lnTo>
                    <a:pt x="43" y="170"/>
                  </a:lnTo>
                  <a:lnTo>
                    <a:pt x="56" y="145"/>
                  </a:lnTo>
                  <a:lnTo>
                    <a:pt x="56" y="145"/>
                  </a:lnTo>
                  <a:lnTo>
                    <a:pt x="71" y="123"/>
                  </a:lnTo>
                  <a:lnTo>
                    <a:pt x="87" y="102"/>
                  </a:lnTo>
                  <a:lnTo>
                    <a:pt x="87" y="102"/>
                  </a:lnTo>
                  <a:lnTo>
                    <a:pt x="91" y="96"/>
                  </a:lnTo>
                  <a:lnTo>
                    <a:pt x="91" y="96"/>
                  </a:lnTo>
                  <a:lnTo>
                    <a:pt x="91" y="95"/>
                  </a:lnTo>
                  <a:lnTo>
                    <a:pt x="91" y="95"/>
                  </a:lnTo>
                  <a:lnTo>
                    <a:pt x="100" y="84"/>
                  </a:lnTo>
                  <a:lnTo>
                    <a:pt x="100" y="84"/>
                  </a:lnTo>
                  <a:lnTo>
                    <a:pt x="102" y="80"/>
                  </a:lnTo>
                  <a:lnTo>
                    <a:pt x="104" y="80"/>
                  </a:lnTo>
                  <a:lnTo>
                    <a:pt x="104" y="80"/>
                  </a:lnTo>
                  <a:lnTo>
                    <a:pt x="104" y="80"/>
                  </a:lnTo>
                  <a:lnTo>
                    <a:pt x="104" y="80"/>
                  </a:lnTo>
                  <a:lnTo>
                    <a:pt x="104" y="80"/>
                  </a:lnTo>
                  <a:lnTo>
                    <a:pt x="125" y="59"/>
                  </a:lnTo>
                  <a:lnTo>
                    <a:pt x="125" y="59"/>
                  </a:lnTo>
                  <a:lnTo>
                    <a:pt x="125" y="58"/>
                  </a:lnTo>
                  <a:lnTo>
                    <a:pt x="125" y="58"/>
                  </a:lnTo>
                  <a:lnTo>
                    <a:pt x="146" y="41"/>
                  </a:lnTo>
                  <a:lnTo>
                    <a:pt x="146" y="41"/>
                  </a:lnTo>
                  <a:lnTo>
                    <a:pt x="147" y="40"/>
                  </a:lnTo>
                  <a:lnTo>
                    <a:pt x="147" y="40"/>
                  </a:lnTo>
                  <a:lnTo>
                    <a:pt x="150" y="38"/>
                  </a:lnTo>
                  <a:lnTo>
                    <a:pt x="150" y="38"/>
                  </a:lnTo>
                  <a:lnTo>
                    <a:pt x="153" y="37"/>
                  </a:lnTo>
                  <a:lnTo>
                    <a:pt x="153" y="37"/>
                  </a:lnTo>
                  <a:lnTo>
                    <a:pt x="158" y="33"/>
                  </a:lnTo>
                  <a:lnTo>
                    <a:pt x="158" y="33"/>
                  </a:lnTo>
                  <a:lnTo>
                    <a:pt x="160" y="32"/>
                  </a:lnTo>
                  <a:lnTo>
                    <a:pt x="160" y="32"/>
                  </a:lnTo>
                  <a:lnTo>
                    <a:pt x="162" y="30"/>
                  </a:lnTo>
                  <a:lnTo>
                    <a:pt x="162" y="30"/>
                  </a:lnTo>
                  <a:lnTo>
                    <a:pt x="175" y="22"/>
                  </a:lnTo>
                  <a:lnTo>
                    <a:pt x="188" y="17"/>
                  </a:lnTo>
                  <a:lnTo>
                    <a:pt x="201" y="13"/>
                  </a:lnTo>
                  <a:lnTo>
                    <a:pt x="213" y="11"/>
                  </a:lnTo>
                  <a:lnTo>
                    <a:pt x="225" y="9"/>
                  </a:lnTo>
                  <a:lnTo>
                    <a:pt x="236" y="11"/>
                  </a:lnTo>
                  <a:lnTo>
                    <a:pt x="246" y="13"/>
                  </a:lnTo>
                  <a:lnTo>
                    <a:pt x="255" y="17"/>
                  </a:lnTo>
                  <a:lnTo>
                    <a:pt x="255" y="17"/>
                  </a:lnTo>
                  <a:lnTo>
                    <a:pt x="263" y="22"/>
                  </a:lnTo>
                  <a:lnTo>
                    <a:pt x="263" y="22"/>
                  </a:lnTo>
                  <a:lnTo>
                    <a:pt x="266" y="26"/>
                  </a:lnTo>
                  <a:lnTo>
                    <a:pt x="266" y="26"/>
                  </a:lnTo>
                  <a:lnTo>
                    <a:pt x="271" y="30"/>
                  </a:lnTo>
                  <a:lnTo>
                    <a:pt x="271" y="30"/>
                  </a:lnTo>
                  <a:lnTo>
                    <a:pt x="274" y="34"/>
                  </a:lnTo>
                  <a:lnTo>
                    <a:pt x="274" y="34"/>
                  </a:lnTo>
                  <a:lnTo>
                    <a:pt x="276" y="40"/>
                  </a:lnTo>
                  <a:lnTo>
                    <a:pt x="276" y="40"/>
                  </a:lnTo>
                  <a:lnTo>
                    <a:pt x="279" y="45"/>
                  </a:lnTo>
                  <a:lnTo>
                    <a:pt x="279" y="45"/>
                  </a:lnTo>
                  <a:lnTo>
                    <a:pt x="282" y="50"/>
                  </a:lnTo>
                  <a:lnTo>
                    <a:pt x="282" y="50"/>
                  </a:lnTo>
                  <a:lnTo>
                    <a:pt x="283" y="55"/>
                  </a:lnTo>
                  <a:lnTo>
                    <a:pt x="283" y="55"/>
                  </a:lnTo>
                  <a:lnTo>
                    <a:pt x="286" y="62"/>
                  </a:lnTo>
                  <a:lnTo>
                    <a:pt x="286" y="62"/>
                  </a:lnTo>
                  <a:lnTo>
                    <a:pt x="287" y="69"/>
                  </a:lnTo>
                  <a:lnTo>
                    <a:pt x="287" y="69"/>
                  </a:lnTo>
                  <a:lnTo>
                    <a:pt x="288" y="75"/>
                  </a:lnTo>
                  <a:lnTo>
                    <a:pt x="288" y="75"/>
                  </a:lnTo>
                  <a:lnTo>
                    <a:pt x="288" y="82"/>
                  </a:lnTo>
                  <a:lnTo>
                    <a:pt x="288" y="82"/>
                  </a:lnTo>
                  <a:lnTo>
                    <a:pt x="290" y="90"/>
                  </a:lnTo>
                  <a:lnTo>
                    <a:pt x="290" y="90"/>
                  </a:lnTo>
                  <a:lnTo>
                    <a:pt x="290" y="96"/>
                  </a:lnTo>
                  <a:lnTo>
                    <a:pt x="290" y="96"/>
                  </a:lnTo>
                  <a:lnTo>
                    <a:pt x="290" y="104"/>
                  </a:lnTo>
                  <a:lnTo>
                    <a:pt x="291" y="104"/>
                  </a:lnTo>
                  <a:lnTo>
                    <a:pt x="291" y="104"/>
                  </a:lnTo>
                  <a:lnTo>
                    <a:pt x="299" y="108"/>
                  </a:lnTo>
                  <a:lnTo>
                    <a:pt x="299" y="108"/>
                  </a:lnTo>
                  <a:lnTo>
                    <a:pt x="300" y="108"/>
                  </a:lnTo>
                  <a:lnTo>
                    <a:pt x="300" y="108"/>
                  </a:lnTo>
                  <a:lnTo>
                    <a:pt x="300" y="91"/>
                  </a:lnTo>
                  <a:lnTo>
                    <a:pt x="299" y="75"/>
                  </a:lnTo>
                  <a:lnTo>
                    <a:pt x="295" y="59"/>
                  </a:lnTo>
                  <a:lnTo>
                    <a:pt x="291" y="46"/>
                  </a:lnTo>
                  <a:lnTo>
                    <a:pt x="286" y="34"/>
                  </a:lnTo>
                  <a:lnTo>
                    <a:pt x="278" y="24"/>
                  </a:lnTo>
                  <a:lnTo>
                    <a:pt x="270" y="15"/>
                  </a:lnTo>
                  <a:lnTo>
                    <a:pt x="261" y="8"/>
                  </a:lnTo>
                  <a:lnTo>
                    <a:pt x="261" y="8"/>
                  </a:lnTo>
                  <a:lnTo>
                    <a:pt x="249" y="3"/>
                  </a:lnTo>
                  <a:lnTo>
                    <a:pt x="237" y="0"/>
                  </a:lnTo>
                  <a:lnTo>
                    <a:pt x="225" y="0"/>
                  </a:lnTo>
                  <a:lnTo>
                    <a:pt x="212" y="0"/>
                  </a:lnTo>
                  <a:lnTo>
                    <a:pt x="197" y="4"/>
                  </a:lnTo>
                  <a:lnTo>
                    <a:pt x="183" y="8"/>
                  </a:lnTo>
                  <a:lnTo>
                    <a:pt x="168" y="16"/>
                  </a:lnTo>
                  <a:lnTo>
                    <a:pt x="154" y="24"/>
                  </a:lnTo>
                  <a:lnTo>
                    <a:pt x="154" y="24"/>
                  </a:lnTo>
                  <a:lnTo>
                    <a:pt x="154" y="24"/>
                  </a:lnTo>
                  <a:lnTo>
                    <a:pt x="154" y="24"/>
                  </a:lnTo>
                  <a:lnTo>
                    <a:pt x="153" y="25"/>
                  </a:lnTo>
                  <a:lnTo>
                    <a:pt x="153" y="25"/>
                  </a:lnTo>
                  <a:lnTo>
                    <a:pt x="151" y="25"/>
                  </a:lnTo>
                  <a:lnTo>
                    <a:pt x="151" y="25"/>
                  </a:lnTo>
                  <a:lnTo>
                    <a:pt x="150" y="26"/>
                  </a:lnTo>
                  <a:lnTo>
                    <a:pt x="150" y="26"/>
                  </a:lnTo>
                  <a:lnTo>
                    <a:pt x="147" y="28"/>
                  </a:lnTo>
                  <a:lnTo>
                    <a:pt x="147" y="28"/>
                  </a:lnTo>
                  <a:lnTo>
                    <a:pt x="147" y="28"/>
                  </a:lnTo>
                  <a:lnTo>
                    <a:pt x="141" y="33"/>
                  </a:lnTo>
                  <a:lnTo>
                    <a:pt x="141" y="33"/>
                  </a:lnTo>
                  <a:lnTo>
                    <a:pt x="139" y="34"/>
                  </a:lnTo>
                  <a:lnTo>
                    <a:pt x="139" y="34"/>
                  </a:lnTo>
                  <a:lnTo>
                    <a:pt x="137" y="36"/>
                  </a:lnTo>
                  <a:lnTo>
                    <a:pt x="137" y="36"/>
                  </a:lnTo>
                  <a:lnTo>
                    <a:pt x="124" y="46"/>
                  </a:lnTo>
                  <a:lnTo>
                    <a:pt x="110" y="58"/>
                  </a:lnTo>
                  <a:lnTo>
                    <a:pt x="97" y="73"/>
                  </a:lnTo>
                  <a:lnTo>
                    <a:pt x="85" y="86"/>
                  </a:lnTo>
                  <a:lnTo>
                    <a:pt x="84" y="88"/>
                  </a:lnTo>
                  <a:lnTo>
                    <a:pt x="84" y="88"/>
                  </a:lnTo>
                  <a:lnTo>
                    <a:pt x="75" y="99"/>
                  </a:lnTo>
                  <a:lnTo>
                    <a:pt x="72" y="103"/>
                  </a:lnTo>
                  <a:lnTo>
                    <a:pt x="72" y="103"/>
                  </a:lnTo>
                  <a:lnTo>
                    <a:pt x="59" y="123"/>
                  </a:lnTo>
                  <a:lnTo>
                    <a:pt x="47" y="141"/>
                  </a:lnTo>
                  <a:lnTo>
                    <a:pt x="47" y="141"/>
                  </a:lnTo>
                  <a:lnTo>
                    <a:pt x="37" y="160"/>
                  </a:lnTo>
                  <a:lnTo>
                    <a:pt x="27" y="181"/>
                  </a:lnTo>
                  <a:lnTo>
                    <a:pt x="27" y="181"/>
                  </a:lnTo>
                  <a:lnTo>
                    <a:pt x="26" y="183"/>
                  </a:lnTo>
                  <a:lnTo>
                    <a:pt x="26" y="183"/>
                  </a:lnTo>
                  <a:lnTo>
                    <a:pt x="26" y="186"/>
                  </a:lnTo>
                  <a:lnTo>
                    <a:pt x="26" y="186"/>
                  </a:lnTo>
                  <a:lnTo>
                    <a:pt x="21" y="196"/>
                  </a:lnTo>
                  <a:lnTo>
                    <a:pt x="21" y="198"/>
                  </a:lnTo>
                  <a:lnTo>
                    <a:pt x="21" y="198"/>
                  </a:lnTo>
                  <a:lnTo>
                    <a:pt x="19" y="199"/>
                  </a:lnTo>
                  <a:lnTo>
                    <a:pt x="19" y="199"/>
                  </a:lnTo>
                  <a:lnTo>
                    <a:pt x="19" y="202"/>
                  </a:lnTo>
                  <a:lnTo>
                    <a:pt x="19" y="202"/>
                  </a:lnTo>
                  <a:lnTo>
                    <a:pt x="18" y="204"/>
                  </a:lnTo>
                  <a:lnTo>
                    <a:pt x="18" y="204"/>
                  </a:lnTo>
                  <a:lnTo>
                    <a:pt x="13" y="222"/>
                  </a:lnTo>
                  <a:lnTo>
                    <a:pt x="8" y="239"/>
                  </a:lnTo>
                  <a:lnTo>
                    <a:pt x="4" y="256"/>
                  </a:lnTo>
                  <a:lnTo>
                    <a:pt x="1" y="273"/>
                  </a:lnTo>
                  <a:lnTo>
                    <a:pt x="1" y="276"/>
                  </a:lnTo>
                  <a:lnTo>
                    <a:pt x="1" y="276"/>
                  </a:lnTo>
                  <a:lnTo>
                    <a:pt x="0" y="282"/>
                  </a:lnTo>
                  <a:lnTo>
                    <a:pt x="0" y="282"/>
                  </a:lnTo>
                  <a:lnTo>
                    <a:pt x="0" y="285"/>
                  </a:lnTo>
                  <a:lnTo>
                    <a:pt x="0" y="285"/>
                  </a:lnTo>
                  <a:lnTo>
                    <a:pt x="0" y="287"/>
                  </a:lnTo>
                  <a:lnTo>
                    <a:pt x="0" y="287"/>
                  </a:lnTo>
                  <a:lnTo>
                    <a:pt x="0" y="289"/>
                  </a:lnTo>
                  <a:lnTo>
                    <a:pt x="0" y="289"/>
                  </a:lnTo>
                  <a:lnTo>
                    <a:pt x="0" y="291"/>
                  </a:lnTo>
                  <a:lnTo>
                    <a:pt x="0" y="291"/>
                  </a:lnTo>
                  <a:lnTo>
                    <a:pt x="0" y="309"/>
                  </a:lnTo>
                  <a:lnTo>
                    <a:pt x="1" y="324"/>
                  </a:lnTo>
                  <a:lnTo>
                    <a:pt x="4" y="339"/>
                  </a:lnTo>
                  <a:lnTo>
                    <a:pt x="9" y="353"/>
                  </a:lnTo>
                  <a:lnTo>
                    <a:pt x="14" y="365"/>
                  </a:lnTo>
                  <a:lnTo>
                    <a:pt x="21" y="376"/>
                  </a:lnTo>
                  <a:lnTo>
                    <a:pt x="30" y="384"/>
                  </a:lnTo>
                  <a:lnTo>
                    <a:pt x="39" y="390"/>
                  </a:lnTo>
                  <a:lnTo>
                    <a:pt x="39" y="390"/>
                  </a:lnTo>
                  <a:lnTo>
                    <a:pt x="47" y="394"/>
                  </a:lnTo>
                  <a:lnTo>
                    <a:pt x="56" y="397"/>
                  </a:lnTo>
                  <a:lnTo>
                    <a:pt x="64" y="399"/>
                  </a:lnTo>
                  <a:lnTo>
                    <a:pt x="75" y="399"/>
                  </a:lnTo>
                  <a:lnTo>
                    <a:pt x="75" y="399"/>
                  </a:lnTo>
                  <a:lnTo>
                    <a:pt x="91" y="398"/>
                  </a:lnTo>
                  <a:lnTo>
                    <a:pt x="109" y="393"/>
                  </a:lnTo>
                  <a:lnTo>
                    <a:pt x="127" y="386"/>
                  </a:lnTo>
                  <a:lnTo>
                    <a:pt x="146" y="374"/>
                  </a:lnTo>
                  <a:lnTo>
                    <a:pt x="146" y="374"/>
                  </a:lnTo>
                  <a:lnTo>
                    <a:pt x="145" y="374"/>
                  </a:lnTo>
                  <a:lnTo>
                    <a:pt x="145" y="374"/>
                  </a:lnTo>
                  <a:lnTo>
                    <a:pt x="139" y="370"/>
                  </a:lnTo>
                  <a:lnTo>
                    <a:pt x="139" y="3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100" name="Freeform 49"/>
            <p:cNvSpPr>
              <a:spLocks/>
            </p:cNvSpPr>
            <p:nvPr/>
          </p:nvSpPr>
          <p:spPr bwMode="auto">
            <a:xfrm>
              <a:off x="5221288" y="4152900"/>
              <a:ext cx="565150" cy="374650"/>
            </a:xfrm>
            <a:custGeom>
              <a:avLst/>
              <a:gdLst>
                <a:gd name="T0" fmla="*/ 289 w 356"/>
                <a:gd name="T1" fmla="*/ 33 h 236"/>
                <a:gd name="T2" fmla="*/ 285 w 356"/>
                <a:gd name="T3" fmla="*/ 30 h 236"/>
                <a:gd name="T4" fmla="*/ 276 w 356"/>
                <a:gd name="T5" fmla="*/ 26 h 236"/>
                <a:gd name="T6" fmla="*/ 248 w 356"/>
                <a:gd name="T7" fmla="*/ 16 h 236"/>
                <a:gd name="T8" fmla="*/ 202 w 356"/>
                <a:gd name="T9" fmla="*/ 5 h 236"/>
                <a:gd name="T10" fmla="*/ 199 w 356"/>
                <a:gd name="T11" fmla="*/ 5 h 236"/>
                <a:gd name="T12" fmla="*/ 181 w 356"/>
                <a:gd name="T13" fmla="*/ 2 h 236"/>
                <a:gd name="T14" fmla="*/ 181 w 356"/>
                <a:gd name="T15" fmla="*/ 2 h 236"/>
                <a:gd name="T16" fmla="*/ 136 w 356"/>
                <a:gd name="T17" fmla="*/ 0 h 236"/>
                <a:gd name="T18" fmla="*/ 91 w 356"/>
                <a:gd name="T19" fmla="*/ 2 h 236"/>
                <a:gd name="T20" fmla="*/ 91 w 356"/>
                <a:gd name="T21" fmla="*/ 2 h 236"/>
                <a:gd name="T22" fmla="*/ 82 w 356"/>
                <a:gd name="T23" fmla="*/ 13 h 236"/>
                <a:gd name="T24" fmla="*/ 108 w 356"/>
                <a:gd name="T25" fmla="*/ 10 h 236"/>
                <a:gd name="T26" fmla="*/ 190 w 356"/>
                <a:gd name="T27" fmla="*/ 14 h 236"/>
                <a:gd name="T28" fmla="*/ 194 w 356"/>
                <a:gd name="T29" fmla="*/ 14 h 236"/>
                <a:gd name="T30" fmla="*/ 197 w 356"/>
                <a:gd name="T31" fmla="*/ 14 h 236"/>
                <a:gd name="T32" fmla="*/ 216 w 356"/>
                <a:gd name="T33" fmla="*/ 18 h 236"/>
                <a:gd name="T34" fmla="*/ 273 w 356"/>
                <a:gd name="T35" fmla="*/ 37 h 236"/>
                <a:gd name="T36" fmla="*/ 278 w 356"/>
                <a:gd name="T37" fmla="*/ 38 h 236"/>
                <a:gd name="T38" fmla="*/ 286 w 356"/>
                <a:gd name="T39" fmla="*/ 43 h 236"/>
                <a:gd name="T40" fmla="*/ 302 w 356"/>
                <a:gd name="T41" fmla="*/ 51 h 236"/>
                <a:gd name="T42" fmla="*/ 338 w 356"/>
                <a:gd name="T43" fmla="*/ 88 h 236"/>
                <a:gd name="T44" fmla="*/ 347 w 356"/>
                <a:gd name="T45" fmla="*/ 117 h 236"/>
                <a:gd name="T46" fmla="*/ 331 w 356"/>
                <a:gd name="T47" fmla="*/ 157 h 236"/>
                <a:gd name="T48" fmla="*/ 289 w 356"/>
                <a:gd name="T49" fmla="*/ 191 h 236"/>
                <a:gd name="T50" fmla="*/ 285 w 356"/>
                <a:gd name="T51" fmla="*/ 194 h 236"/>
                <a:gd name="T52" fmla="*/ 276 w 356"/>
                <a:gd name="T53" fmla="*/ 198 h 236"/>
                <a:gd name="T54" fmla="*/ 270 w 356"/>
                <a:gd name="T55" fmla="*/ 200 h 236"/>
                <a:gd name="T56" fmla="*/ 212 w 356"/>
                <a:gd name="T57" fmla="*/ 217 h 236"/>
                <a:gd name="T58" fmla="*/ 197 w 356"/>
                <a:gd name="T59" fmla="*/ 220 h 236"/>
                <a:gd name="T60" fmla="*/ 195 w 356"/>
                <a:gd name="T61" fmla="*/ 221 h 236"/>
                <a:gd name="T62" fmla="*/ 193 w 356"/>
                <a:gd name="T63" fmla="*/ 221 h 236"/>
                <a:gd name="T64" fmla="*/ 190 w 356"/>
                <a:gd name="T65" fmla="*/ 221 h 236"/>
                <a:gd name="T66" fmla="*/ 75 w 356"/>
                <a:gd name="T67" fmla="*/ 221 h 236"/>
                <a:gd name="T68" fmla="*/ 62 w 356"/>
                <a:gd name="T69" fmla="*/ 219 h 236"/>
                <a:gd name="T70" fmla="*/ 15 w 356"/>
                <a:gd name="T71" fmla="*/ 205 h 236"/>
                <a:gd name="T72" fmla="*/ 0 w 356"/>
                <a:gd name="T73" fmla="*/ 200 h 236"/>
                <a:gd name="T74" fmla="*/ 0 w 356"/>
                <a:gd name="T75" fmla="*/ 209 h 236"/>
                <a:gd name="T76" fmla="*/ 0 w 356"/>
                <a:gd name="T77" fmla="*/ 211 h 236"/>
                <a:gd name="T78" fmla="*/ 19 w 356"/>
                <a:gd name="T79" fmla="*/ 216 h 236"/>
                <a:gd name="T80" fmla="*/ 59 w 356"/>
                <a:gd name="T81" fmla="*/ 228 h 236"/>
                <a:gd name="T82" fmla="*/ 71 w 356"/>
                <a:gd name="T83" fmla="*/ 230 h 236"/>
                <a:gd name="T84" fmla="*/ 91 w 356"/>
                <a:gd name="T85" fmla="*/ 233 h 236"/>
                <a:gd name="T86" fmla="*/ 136 w 356"/>
                <a:gd name="T87" fmla="*/ 236 h 236"/>
                <a:gd name="T88" fmla="*/ 161 w 356"/>
                <a:gd name="T89" fmla="*/ 234 h 236"/>
                <a:gd name="T90" fmla="*/ 179 w 356"/>
                <a:gd name="T91" fmla="*/ 233 h 236"/>
                <a:gd name="T92" fmla="*/ 186 w 356"/>
                <a:gd name="T93" fmla="*/ 232 h 236"/>
                <a:gd name="T94" fmla="*/ 200 w 356"/>
                <a:gd name="T95" fmla="*/ 230 h 236"/>
                <a:gd name="T96" fmla="*/ 204 w 356"/>
                <a:gd name="T97" fmla="*/ 229 h 236"/>
                <a:gd name="T98" fmla="*/ 207 w 356"/>
                <a:gd name="T99" fmla="*/ 229 h 236"/>
                <a:gd name="T100" fmla="*/ 257 w 356"/>
                <a:gd name="T101" fmla="*/ 216 h 236"/>
                <a:gd name="T102" fmla="*/ 282 w 356"/>
                <a:gd name="T103" fmla="*/ 205 h 236"/>
                <a:gd name="T104" fmla="*/ 286 w 356"/>
                <a:gd name="T105" fmla="*/ 203 h 236"/>
                <a:gd name="T106" fmla="*/ 328 w 356"/>
                <a:gd name="T107" fmla="*/ 175 h 236"/>
                <a:gd name="T108" fmla="*/ 355 w 356"/>
                <a:gd name="T109" fmla="*/ 130 h 236"/>
                <a:gd name="T110" fmla="*/ 352 w 356"/>
                <a:gd name="T111" fmla="*/ 95 h 236"/>
                <a:gd name="T112" fmla="*/ 318 w 356"/>
                <a:gd name="T113" fmla="*/ 5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 h="236">
                  <a:moveTo>
                    <a:pt x="290" y="33"/>
                  </a:moveTo>
                  <a:lnTo>
                    <a:pt x="290" y="33"/>
                  </a:lnTo>
                  <a:lnTo>
                    <a:pt x="289" y="33"/>
                  </a:lnTo>
                  <a:lnTo>
                    <a:pt x="289" y="33"/>
                  </a:lnTo>
                  <a:lnTo>
                    <a:pt x="286" y="31"/>
                  </a:lnTo>
                  <a:lnTo>
                    <a:pt x="286" y="31"/>
                  </a:lnTo>
                  <a:lnTo>
                    <a:pt x="286" y="31"/>
                  </a:lnTo>
                  <a:lnTo>
                    <a:pt x="285" y="30"/>
                  </a:lnTo>
                  <a:lnTo>
                    <a:pt x="285" y="30"/>
                  </a:lnTo>
                  <a:lnTo>
                    <a:pt x="282" y="30"/>
                  </a:lnTo>
                  <a:lnTo>
                    <a:pt x="282" y="30"/>
                  </a:lnTo>
                  <a:lnTo>
                    <a:pt x="276" y="26"/>
                  </a:lnTo>
                  <a:lnTo>
                    <a:pt x="276" y="26"/>
                  </a:lnTo>
                  <a:lnTo>
                    <a:pt x="273" y="25"/>
                  </a:lnTo>
                  <a:lnTo>
                    <a:pt x="273" y="25"/>
                  </a:lnTo>
                  <a:lnTo>
                    <a:pt x="248" y="16"/>
                  </a:lnTo>
                  <a:lnTo>
                    <a:pt x="220" y="9"/>
                  </a:lnTo>
                  <a:lnTo>
                    <a:pt x="220" y="9"/>
                  </a:lnTo>
                  <a:lnTo>
                    <a:pt x="202" y="5"/>
                  </a:lnTo>
                  <a:lnTo>
                    <a:pt x="202" y="5"/>
                  </a:lnTo>
                  <a:lnTo>
                    <a:pt x="200" y="5"/>
                  </a:lnTo>
                  <a:lnTo>
                    <a:pt x="200" y="5"/>
                  </a:lnTo>
                  <a:lnTo>
                    <a:pt x="199" y="5"/>
                  </a:lnTo>
                  <a:lnTo>
                    <a:pt x="199" y="5"/>
                  </a:lnTo>
                  <a:lnTo>
                    <a:pt x="185" y="2"/>
                  </a:lnTo>
                  <a:lnTo>
                    <a:pt x="181" y="2"/>
                  </a:lnTo>
                  <a:lnTo>
                    <a:pt x="181" y="2"/>
                  </a:lnTo>
                  <a:lnTo>
                    <a:pt x="181" y="2"/>
                  </a:lnTo>
                  <a:lnTo>
                    <a:pt x="181" y="2"/>
                  </a:lnTo>
                  <a:lnTo>
                    <a:pt x="181" y="2"/>
                  </a:lnTo>
                  <a:lnTo>
                    <a:pt x="181" y="2"/>
                  </a:lnTo>
                  <a:lnTo>
                    <a:pt x="181" y="2"/>
                  </a:lnTo>
                  <a:lnTo>
                    <a:pt x="181" y="2"/>
                  </a:lnTo>
                  <a:lnTo>
                    <a:pt x="181" y="2"/>
                  </a:lnTo>
                  <a:lnTo>
                    <a:pt x="158" y="1"/>
                  </a:lnTo>
                  <a:lnTo>
                    <a:pt x="136" y="0"/>
                  </a:lnTo>
                  <a:lnTo>
                    <a:pt x="113" y="1"/>
                  </a:lnTo>
                  <a:lnTo>
                    <a:pt x="91" y="2"/>
                  </a:lnTo>
                  <a:lnTo>
                    <a:pt x="91" y="2"/>
                  </a:lnTo>
                  <a:lnTo>
                    <a:pt x="91" y="2"/>
                  </a:lnTo>
                  <a:lnTo>
                    <a:pt x="91" y="2"/>
                  </a:lnTo>
                  <a:lnTo>
                    <a:pt x="91" y="2"/>
                  </a:lnTo>
                  <a:lnTo>
                    <a:pt x="91" y="2"/>
                  </a:lnTo>
                  <a:lnTo>
                    <a:pt x="91" y="2"/>
                  </a:lnTo>
                  <a:lnTo>
                    <a:pt x="91" y="2"/>
                  </a:lnTo>
                  <a:lnTo>
                    <a:pt x="83" y="12"/>
                  </a:lnTo>
                  <a:lnTo>
                    <a:pt x="83" y="12"/>
                  </a:lnTo>
                  <a:lnTo>
                    <a:pt x="82" y="13"/>
                  </a:lnTo>
                  <a:lnTo>
                    <a:pt x="82" y="13"/>
                  </a:lnTo>
                  <a:lnTo>
                    <a:pt x="82" y="13"/>
                  </a:lnTo>
                  <a:lnTo>
                    <a:pt x="82" y="13"/>
                  </a:lnTo>
                  <a:lnTo>
                    <a:pt x="108" y="10"/>
                  </a:lnTo>
                  <a:lnTo>
                    <a:pt x="136" y="10"/>
                  </a:lnTo>
                  <a:lnTo>
                    <a:pt x="162" y="10"/>
                  </a:lnTo>
                  <a:lnTo>
                    <a:pt x="190" y="14"/>
                  </a:lnTo>
                  <a:lnTo>
                    <a:pt x="190" y="14"/>
                  </a:lnTo>
                  <a:lnTo>
                    <a:pt x="194" y="14"/>
                  </a:lnTo>
                  <a:lnTo>
                    <a:pt x="194" y="14"/>
                  </a:lnTo>
                  <a:lnTo>
                    <a:pt x="194" y="14"/>
                  </a:lnTo>
                  <a:lnTo>
                    <a:pt x="194" y="14"/>
                  </a:lnTo>
                  <a:lnTo>
                    <a:pt x="195" y="14"/>
                  </a:lnTo>
                  <a:lnTo>
                    <a:pt x="195" y="14"/>
                  </a:lnTo>
                  <a:lnTo>
                    <a:pt x="197" y="14"/>
                  </a:lnTo>
                  <a:lnTo>
                    <a:pt x="197" y="14"/>
                  </a:lnTo>
                  <a:lnTo>
                    <a:pt x="215" y="18"/>
                  </a:lnTo>
                  <a:lnTo>
                    <a:pt x="215" y="18"/>
                  </a:lnTo>
                  <a:lnTo>
                    <a:pt x="216" y="18"/>
                  </a:lnTo>
                  <a:lnTo>
                    <a:pt x="216" y="18"/>
                  </a:lnTo>
                  <a:lnTo>
                    <a:pt x="245" y="26"/>
                  </a:lnTo>
                  <a:lnTo>
                    <a:pt x="270" y="35"/>
                  </a:lnTo>
                  <a:lnTo>
                    <a:pt x="270" y="35"/>
                  </a:lnTo>
                  <a:lnTo>
                    <a:pt x="273" y="37"/>
                  </a:lnTo>
                  <a:lnTo>
                    <a:pt x="273" y="37"/>
                  </a:lnTo>
                  <a:lnTo>
                    <a:pt x="274" y="37"/>
                  </a:lnTo>
                  <a:lnTo>
                    <a:pt x="274" y="37"/>
                  </a:lnTo>
                  <a:lnTo>
                    <a:pt x="278" y="38"/>
                  </a:lnTo>
                  <a:lnTo>
                    <a:pt x="278" y="38"/>
                  </a:lnTo>
                  <a:lnTo>
                    <a:pt x="285" y="42"/>
                  </a:lnTo>
                  <a:lnTo>
                    <a:pt x="285" y="42"/>
                  </a:lnTo>
                  <a:lnTo>
                    <a:pt x="286" y="43"/>
                  </a:lnTo>
                  <a:lnTo>
                    <a:pt x="286" y="43"/>
                  </a:lnTo>
                  <a:lnTo>
                    <a:pt x="289" y="43"/>
                  </a:lnTo>
                  <a:lnTo>
                    <a:pt x="289" y="43"/>
                  </a:lnTo>
                  <a:lnTo>
                    <a:pt x="302" y="51"/>
                  </a:lnTo>
                  <a:lnTo>
                    <a:pt x="313" y="60"/>
                  </a:lnTo>
                  <a:lnTo>
                    <a:pt x="323" y="68"/>
                  </a:lnTo>
                  <a:lnTo>
                    <a:pt x="331" y="78"/>
                  </a:lnTo>
                  <a:lnTo>
                    <a:pt x="338" y="88"/>
                  </a:lnTo>
                  <a:lnTo>
                    <a:pt x="343" y="97"/>
                  </a:lnTo>
                  <a:lnTo>
                    <a:pt x="345" y="108"/>
                  </a:lnTo>
                  <a:lnTo>
                    <a:pt x="347" y="117"/>
                  </a:lnTo>
                  <a:lnTo>
                    <a:pt x="347" y="117"/>
                  </a:lnTo>
                  <a:lnTo>
                    <a:pt x="345" y="128"/>
                  </a:lnTo>
                  <a:lnTo>
                    <a:pt x="343" y="138"/>
                  </a:lnTo>
                  <a:lnTo>
                    <a:pt x="338" y="147"/>
                  </a:lnTo>
                  <a:lnTo>
                    <a:pt x="331" y="157"/>
                  </a:lnTo>
                  <a:lnTo>
                    <a:pt x="323" y="166"/>
                  </a:lnTo>
                  <a:lnTo>
                    <a:pt x="313" y="175"/>
                  </a:lnTo>
                  <a:lnTo>
                    <a:pt x="302" y="183"/>
                  </a:lnTo>
                  <a:lnTo>
                    <a:pt x="289" y="191"/>
                  </a:lnTo>
                  <a:lnTo>
                    <a:pt x="289" y="191"/>
                  </a:lnTo>
                  <a:lnTo>
                    <a:pt x="287" y="192"/>
                  </a:lnTo>
                  <a:lnTo>
                    <a:pt x="285" y="194"/>
                  </a:lnTo>
                  <a:lnTo>
                    <a:pt x="285" y="194"/>
                  </a:lnTo>
                  <a:lnTo>
                    <a:pt x="278" y="196"/>
                  </a:lnTo>
                  <a:lnTo>
                    <a:pt x="278" y="196"/>
                  </a:lnTo>
                  <a:lnTo>
                    <a:pt x="276" y="198"/>
                  </a:lnTo>
                  <a:lnTo>
                    <a:pt x="276" y="198"/>
                  </a:lnTo>
                  <a:lnTo>
                    <a:pt x="273" y="199"/>
                  </a:lnTo>
                  <a:lnTo>
                    <a:pt x="273" y="199"/>
                  </a:lnTo>
                  <a:lnTo>
                    <a:pt x="270" y="200"/>
                  </a:lnTo>
                  <a:lnTo>
                    <a:pt x="270" y="200"/>
                  </a:lnTo>
                  <a:lnTo>
                    <a:pt x="244" y="209"/>
                  </a:lnTo>
                  <a:lnTo>
                    <a:pt x="216" y="217"/>
                  </a:lnTo>
                  <a:lnTo>
                    <a:pt x="216" y="217"/>
                  </a:lnTo>
                  <a:lnTo>
                    <a:pt x="212" y="217"/>
                  </a:lnTo>
                  <a:lnTo>
                    <a:pt x="212" y="217"/>
                  </a:lnTo>
                  <a:lnTo>
                    <a:pt x="210" y="219"/>
                  </a:lnTo>
                  <a:lnTo>
                    <a:pt x="210" y="219"/>
                  </a:lnTo>
                  <a:lnTo>
                    <a:pt x="197" y="220"/>
                  </a:lnTo>
                  <a:lnTo>
                    <a:pt x="197" y="220"/>
                  </a:lnTo>
                  <a:lnTo>
                    <a:pt x="195" y="221"/>
                  </a:lnTo>
                  <a:lnTo>
                    <a:pt x="195" y="221"/>
                  </a:lnTo>
                  <a:lnTo>
                    <a:pt x="195" y="221"/>
                  </a:lnTo>
                  <a:lnTo>
                    <a:pt x="193" y="221"/>
                  </a:lnTo>
                  <a:lnTo>
                    <a:pt x="193" y="221"/>
                  </a:lnTo>
                  <a:lnTo>
                    <a:pt x="193" y="221"/>
                  </a:lnTo>
                  <a:lnTo>
                    <a:pt x="193" y="221"/>
                  </a:lnTo>
                  <a:lnTo>
                    <a:pt x="190" y="221"/>
                  </a:lnTo>
                  <a:lnTo>
                    <a:pt x="190" y="221"/>
                  </a:lnTo>
                  <a:lnTo>
                    <a:pt x="190" y="221"/>
                  </a:lnTo>
                  <a:lnTo>
                    <a:pt x="190" y="221"/>
                  </a:lnTo>
                  <a:lnTo>
                    <a:pt x="161" y="224"/>
                  </a:lnTo>
                  <a:lnTo>
                    <a:pt x="132" y="225"/>
                  </a:lnTo>
                  <a:lnTo>
                    <a:pt x="104" y="224"/>
                  </a:lnTo>
                  <a:lnTo>
                    <a:pt x="75" y="221"/>
                  </a:lnTo>
                  <a:lnTo>
                    <a:pt x="75" y="221"/>
                  </a:lnTo>
                  <a:lnTo>
                    <a:pt x="74" y="220"/>
                  </a:lnTo>
                  <a:lnTo>
                    <a:pt x="74" y="220"/>
                  </a:lnTo>
                  <a:lnTo>
                    <a:pt x="62" y="219"/>
                  </a:lnTo>
                  <a:lnTo>
                    <a:pt x="62" y="219"/>
                  </a:lnTo>
                  <a:lnTo>
                    <a:pt x="45" y="215"/>
                  </a:lnTo>
                  <a:lnTo>
                    <a:pt x="29" y="211"/>
                  </a:lnTo>
                  <a:lnTo>
                    <a:pt x="15" y="205"/>
                  </a:lnTo>
                  <a:lnTo>
                    <a:pt x="0" y="200"/>
                  </a:lnTo>
                  <a:lnTo>
                    <a:pt x="0" y="200"/>
                  </a:lnTo>
                  <a:lnTo>
                    <a:pt x="0" y="200"/>
                  </a:lnTo>
                  <a:lnTo>
                    <a:pt x="0" y="200"/>
                  </a:lnTo>
                  <a:lnTo>
                    <a:pt x="0" y="201"/>
                  </a:lnTo>
                  <a:lnTo>
                    <a:pt x="0" y="201"/>
                  </a:lnTo>
                  <a:lnTo>
                    <a:pt x="0" y="209"/>
                  </a:lnTo>
                  <a:lnTo>
                    <a:pt x="0" y="209"/>
                  </a:lnTo>
                  <a:lnTo>
                    <a:pt x="0" y="211"/>
                  </a:lnTo>
                  <a:lnTo>
                    <a:pt x="0" y="211"/>
                  </a:lnTo>
                  <a:lnTo>
                    <a:pt x="0" y="211"/>
                  </a:lnTo>
                  <a:lnTo>
                    <a:pt x="0" y="211"/>
                  </a:lnTo>
                  <a:lnTo>
                    <a:pt x="16" y="216"/>
                  </a:lnTo>
                  <a:lnTo>
                    <a:pt x="16" y="216"/>
                  </a:lnTo>
                  <a:lnTo>
                    <a:pt x="19" y="216"/>
                  </a:lnTo>
                  <a:lnTo>
                    <a:pt x="19" y="216"/>
                  </a:lnTo>
                  <a:lnTo>
                    <a:pt x="46" y="225"/>
                  </a:lnTo>
                  <a:lnTo>
                    <a:pt x="46" y="225"/>
                  </a:lnTo>
                  <a:lnTo>
                    <a:pt x="59" y="228"/>
                  </a:lnTo>
                  <a:lnTo>
                    <a:pt x="59" y="228"/>
                  </a:lnTo>
                  <a:lnTo>
                    <a:pt x="70" y="230"/>
                  </a:lnTo>
                  <a:lnTo>
                    <a:pt x="70" y="230"/>
                  </a:lnTo>
                  <a:lnTo>
                    <a:pt x="71" y="230"/>
                  </a:lnTo>
                  <a:lnTo>
                    <a:pt x="71" y="230"/>
                  </a:lnTo>
                  <a:lnTo>
                    <a:pt x="73" y="230"/>
                  </a:lnTo>
                  <a:lnTo>
                    <a:pt x="73" y="230"/>
                  </a:lnTo>
                  <a:lnTo>
                    <a:pt x="86" y="232"/>
                  </a:lnTo>
                  <a:lnTo>
                    <a:pt x="91" y="233"/>
                  </a:lnTo>
                  <a:lnTo>
                    <a:pt x="91" y="233"/>
                  </a:lnTo>
                  <a:lnTo>
                    <a:pt x="115" y="234"/>
                  </a:lnTo>
                  <a:lnTo>
                    <a:pt x="136" y="236"/>
                  </a:lnTo>
                  <a:lnTo>
                    <a:pt x="136" y="236"/>
                  </a:lnTo>
                  <a:lnTo>
                    <a:pt x="156" y="234"/>
                  </a:lnTo>
                  <a:lnTo>
                    <a:pt x="156" y="234"/>
                  </a:lnTo>
                  <a:lnTo>
                    <a:pt x="161" y="234"/>
                  </a:lnTo>
                  <a:lnTo>
                    <a:pt x="161" y="234"/>
                  </a:lnTo>
                  <a:lnTo>
                    <a:pt x="175" y="233"/>
                  </a:lnTo>
                  <a:lnTo>
                    <a:pt x="175" y="233"/>
                  </a:lnTo>
                  <a:lnTo>
                    <a:pt x="179" y="233"/>
                  </a:lnTo>
                  <a:lnTo>
                    <a:pt x="179" y="233"/>
                  </a:lnTo>
                  <a:lnTo>
                    <a:pt x="183" y="232"/>
                  </a:lnTo>
                  <a:lnTo>
                    <a:pt x="183" y="232"/>
                  </a:lnTo>
                  <a:lnTo>
                    <a:pt x="186" y="232"/>
                  </a:lnTo>
                  <a:lnTo>
                    <a:pt x="186" y="232"/>
                  </a:lnTo>
                  <a:lnTo>
                    <a:pt x="199" y="230"/>
                  </a:lnTo>
                  <a:lnTo>
                    <a:pt x="199" y="230"/>
                  </a:lnTo>
                  <a:lnTo>
                    <a:pt x="200" y="230"/>
                  </a:lnTo>
                  <a:lnTo>
                    <a:pt x="200" y="230"/>
                  </a:lnTo>
                  <a:lnTo>
                    <a:pt x="200" y="230"/>
                  </a:lnTo>
                  <a:lnTo>
                    <a:pt x="203" y="229"/>
                  </a:lnTo>
                  <a:lnTo>
                    <a:pt x="203" y="229"/>
                  </a:lnTo>
                  <a:lnTo>
                    <a:pt x="204" y="229"/>
                  </a:lnTo>
                  <a:lnTo>
                    <a:pt x="204" y="229"/>
                  </a:lnTo>
                  <a:lnTo>
                    <a:pt x="206" y="229"/>
                  </a:lnTo>
                  <a:lnTo>
                    <a:pt x="206" y="229"/>
                  </a:lnTo>
                  <a:lnTo>
                    <a:pt x="207" y="229"/>
                  </a:lnTo>
                  <a:lnTo>
                    <a:pt x="207" y="229"/>
                  </a:lnTo>
                  <a:lnTo>
                    <a:pt x="224" y="225"/>
                  </a:lnTo>
                  <a:lnTo>
                    <a:pt x="241" y="221"/>
                  </a:lnTo>
                  <a:lnTo>
                    <a:pt x="257" y="216"/>
                  </a:lnTo>
                  <a:lnTo>
                    <a:pt x="273" y="209"/>
                  </a:lnTo>
                  <a:lnTo>
                    <a:pt x="276" y="208"/>
                  </a:lnTo>
                  <a:lnTo>
                    <a:pt x="276" y="208"/>
                  </a:lnTo>
                  <a:lnTo>
                    <a:pt x="282" y="205"/>
                  </a:lnTo>
                  <a:lnTo>
                    <a:pt x="282" y="205"/>
                  </a:lnTo>
                  <a:lnTo>
                    <a:pt x="285" y="204"/>
                  </a:lnTo>
                  <a:lnTo>
                    <a:pt x="285" y="204"/>
                  </a:lnTo>
                  <a:lnTo>
                    <a:pt x="286" y="203"/>
                  </a:lnTo>
                  <a:lnTo>
                    <a:pt x="286" y="203"/>
                  </a:lnTo>
                  <a:lnTo>
                    <a:pt x="302" y="195"/>
                  </a:lnTo>
                  <a:lnTo>
                    <a:pt x="316" y="186"/>
                  </a:lnTo>
                  <a:lnTo>
                    <a:pt x="328" y="175"/>
                  </a:lnTo>
                  <a:lnTo>
                    <a:pt x="338" y="165"/>
                  </a:lnTo>
                  <a:lnTo>
                    <a:pt x="345" y="153"/>
                  </a:lnTo>
                  <a:lnTo>
                    <a:pt x="352" y="142"/>
                  </a:lnTo>
                  <a:lnTo>
                    <a:pt x="355" y="130"/>
                  </a:lnTo>
                  <a:lnTo>
                    <a:pt x="356" y="117"/>
                  </a:lnTo>
                  <a:lnTo>
                    <a:pt x="356" y="117"/>
                  </a:lnTo>
                  <a:lnTo>
                    <a:pt x="355" y="105"/>
                  </a:lnTo>
                  <a:lnTo>
                    <a:pt x="352" y="95"/>
                  </a:lnTo>
                  <a:lnTo>
                    <a:pt x="347" y="83"/>
                  </a:lnTo>
                  <a:lnTo>
                    <a:pt x="339" y="72"/>
                  </a:lnTo>
                  <a:lnTo>
                    <a:pt x="330" y="62"/>
                  </a:lnTo>
                  <a:lnTo>
                    <a:pt x="318" y="51"/>
                  </a:lnTo>
                  <a:lnTo>
                    <a:pt x="305" y="42"/>
                  </a:lnTo>
                  <a:lnTo>
                    <a:pt x="290" y="33"/>
                  </a:lnTo>
                  <a:lnTo>
                    <a:pt x="290"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103" name="Freeform 50"/>
            <p:cNvSpPr>
              <a:spLocks/>
            </p:cNvSpPr>
            <p:nvPr/>
          </p:nvSpPr>
          <p:spPr bwMode="auto">
            <a:xfrm>
              <a:off x="5337176" y="4240213"/>
              <a:ext cx="198438" cy="198438"/>
            </a:xfrm>
            <a:custGeom>
              <a:avLst/>
              <a:gdLst>
                <a:gd name="T0" fmla="*/ 63 w 125"/>
                <a:gd name="T1" fmla="*/ 125 h 125"/>
                <a:gd name="T2" fmla="*/ 63 w 125"/>
                <a:gd name="T3" fmla="*/ 125 h 125"/>
                <a:gd name="T4" fmla="*/ 75 w 125"/>
                <a:gd name="T5" fmla="*/ 124 h 125"/>
                <a:gd name="T6" fmla="*/ 87 w 125"/>
                <a:gd name="T7" fmla="*/ 120 h 125"/>
                <a:gd name="T8" fmla="*/ 97 w 125"/>
                <a:gd name="T9" fmla="*/ 115 h 125"/>
                <a:gd name="T10" fmla="*/ 106 w 125"/>
                <a:gd name="T11" fmla="*/ 107 h 125"/>
                <a:gd name="T12" fmla="*/ 114 w 125"/>
                <a:gd name="T13" fmla="*/ 98 h 125"/>
                <a:gd name="T14" fmla="*/ 120 w 125"/>
                <a:gd name="T15" fmla="*/ 87 h 125"/>
                <a:gd name="T16" fmla="*/ 124 w 125"/>
                <a:gd name="T17" fmla="*/ 75 h 125"/>
                <a:gd name="T18" fmla="*/ 125 w 125"/>
                <a:gd name="T19" fmla="*/ 62 h 125"/>
                <a:gd name="T20" fmla="*/ 125 w 125"/>
                <a:gd name="T21" fmla="*/ 62 h 125"/>
                <a:gd name="T22" fmla="*/ 124 w 125"/>
                <a:gd name="T23" fmla="*/ 50 h 125"/>
                <a:gd name="T24" fmla="*/ 120 w 125"/>
                <a:gd name="T25" fmla="*/ 38 h 125"/>
                <a:gd name="T26" fmla="*/ 114 w 125"/>
                <a:gd name="T27" fmla="*/ 28 h 125"/>
                <a:gd name="T28" fmla="*/ 106 w 125"/>
                <a:gd name="T29" fmla="*/ 19 h 125"/>
                <a:gd name="T30" fmla="*/ 97 w 125"/>
                <a:gd name="T31" fmla="*/ 11 h 125"/>
                <a:gd name="T32" fmla="*/ 87 w 125"/>
                <a:gd name="T33" fmla="*/ 5 h 125"/>
                <a:gd name="T34" fmla="*/ 75 w 125"/>
                <a:gd name="T35" fmla="*/ 1 h 125"/>
                <a:gd name="T36" fmla="*/ 63 w 125"/>
                <a:gd name="T37" fmla="*/ 0 h 125"/>
                <a:gd name="T38" fmla="*/ 63 w 125"/>
                <a:gd name="T39" fmla="*/ 0 h 125"/>
                <a:gd name="T40" fmla="*/ 50 w 125"/>
                <a:gd name="T41" fmla="*/ 1 h 125"/>
                <a:gd name="T42" fmla="*/ 38 w 125"/>
                <a:gd name="T43" fmla="*/ 5 h 125"/>
                <a:gd name="T44" fmla="*/ 27 w 125"/>
                <a:gd name="T45" fmla="*/ 11 h 125"/>
                <a:gd name="T46" fmla="*/ 18 w 125"/>
                <a:gd name="T47" fmla="*/ 19 h 125"/>
                <a:gd name="T48" fmla="*/ 11 w 125"/>
                <a:gd name="T49" fmla="*/ 28 h 125"/>
                <a:gd name="T50" fmla="*/ 5 w 125"/>
                <a:gd name="T51" fmla="*/ 38 h 125"/>
                <a:gd name="T52" fmla="*/ 1 w 125"/>
                <a:gd name="T53" fmla="*/ 50 h 125"/>
                <a:gd name="T54" fmla="*/ 0 w 125"/>
                <a:gd name="T55" fmla="*/ 62 h 125"/>
                <a:gd name="T56" fmla="*/ 0 w 125"/>
                <a:gd name="T57" fmla="*/ 62 h 125"/>
                <a:gd name="T58" fmla="*/ 1 w 125"/>
                <a:gd name="T59" fmla="*/ 75 h 125"/>
                <a:gd name="T60" fmla="*/ 5 w 125"/>
                <a:gd name="T61" fmla="*/ 87 h 125"/>
                <a:gd name="T62" fmla="*/ 11 w 125"/>
                <a:gd name="T63" fmla="*/ 98 h 125"/>
                <a:gd name="T64" fmla="*/ 18 w 125"/>
                <a:gd name="T65" fmla="*/ 107 h 125"/>
                <a:gd name="T66" fmla="*/ 27 w 125"/>
                <a:gd name="T67" fmla="*/ 115 h 125"/>
                <a:gd name="T68" fmla="*/ 38 w 125"/>
                <a:gd name="T69" fmla="*/ 120 h 125"/>
                <a:gd name="T70" fmla="*/ 50 w 125"/>
                <a:gd name="T71" fmla="*/ 124 h 125"/>
                <a:gd name="T72" fmla="*/ 63 w 125"/>
                <a:gd name="T73" fmla="*/ 125 h 125"/>
                <a:gd name="T74" fmla="*/ 63 w 125"/>
                <a:gd name="T75"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 h="125">
                  <a:moveTo>
                    <a:pt x="63" y="125"/>
                  </a:moveTo>
                  <a:lnTo>
                    <a:pt x="63" y="125"/>
                  </a:lnTo>
                  <a:lnTo>
                    <a:pt x="75" y="124"/>
                  </a:lnTo>
                  <a:lnTo>
                    <a:pt x="87" y="120"/>
                  </a:lnTo>
                  <a:lnTo>
                    <a:pt x="97" y="115"/>
                  </a:lnTo>
                  <a:lnTo>
                    <a:pt x="106" y="107"/>
                  </a:lnTo>
                  <a:lnTo>
                    <a:pt x="114" y="98"/>
                  </a:lnTo>
                  <a:lnTo>
                    <a:pt x="120" y="87"/>
                  </a:lnTo>
                  <a:lnTo>
                    <a:pt x="124" y="75"/>
                  </a:lnTo>
                  <a:lnTo>
                    <a:pt x="125" y="62"/>
                  </a:lnTo>
                  <a:lnTo>
                    <a:pt x="125" y="62"/>
                  </a:lnTo>
                  <a:lnTo>
                    <a:pt x="124" y="50"/>
                  </a:lnTo>
                  <a:lnTo>
                    <a:pt x="120" y="38"/>
                  </a:lnTo>
                  <a:lnTo>
                    <a:pt x="114" y="28"/>
                  </a:lnTo>
                  <a:lnTo>
                    <a:pt x="106" y="19"/>
                  </a:lnTo>
                  <a:lnTo>
                    <a:pt x="97" y="11"/>
                  </a:lnTo>
                  <a:lnTo>
                    <a:pt x="87" y="5"/>
                  </a:lnTo>
                  <a:lnTo>
                    <a:pt x="75" y="1"/>
                  </a:lnTo>
                  <a:lnTo>
                    <a:pt x="63" y="0"/>
                  </a:lnTo>
                  <a:lnTo>
                    <a:pt x="63" y="0"/>
                  </a:lnTo>
                  <a:lnTo>
                    <a:pt x="50" y="1"/>
                  </a:lnTo>
                  <a:lnTo>
                    <a:pt x="38" y="5"/>
                  </a:lnTo>
                  <a:lnTo>
                    <a:pt x="27" y="11"/>
                  </a:lnTo>
                  <a:lnTo>
                    <a:pt x="18" y="19"/>
                  </a:lnTo>
                  <a:lnTo>
                    <a:pt x="11" y="28"/>
                  </a:lnTo>
                  <a:lnTo>
                    <a:pt x="5" y="38"/>
                  </a:lnTo>
                  <a:lnTo>
                    <a:pt x="1" y="50"/>
                  </a:lnTo>
                  <a:lnTo>
                    <a:pt x="0" y="62"/>
                  </a:lnTo>
                  <a:lnTo>
                    <a:pt x="0" y="62"/>
                  </a:lnTo>
                  <a:lnTo>
                    <a:pt x="1" y="75"/>
                  </a:lnTo>
                  <a:lnTo>
                    <a:pt x="5" y="87"/>
                  </a:lnTo>
                  <a:lnTo>
                    <a:pt x="11" y="98"/>
                  </a:lnTo>
                  <a:lnTo>
                    <a:pt x="18" y="107"/>
                  </a:lnTo>
                  <a:lnTo>
                    <a:pt x="27" y="115"/>
                  </a:lnTo>
                  <a:lnTo>
                    <a:pt x="38" y="120"/>
                  </a:lnTo>
                  <a:lnTo>
                    <a:pt x="50" y="124"/>
                  </a:lnTo>
                  <a:lnTo>
                    <a:pt x="63" y="125"/>
                  </a:lnTo>
                  <a:lnTo>
                    <a:pt x="63"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sp>
          <p:nvSpPr>
            <p:cNvPr id="106" name="Freeform 51"/>
            <p:cNvSpPr>
              <a:spLocks/>
            </p:cNvSpPr>
            <p:nvPr/>
          </p:nvSpPr>
          <p:spPr bwMode="auto">
            <a:xfrm>
              <a:off x="5340351" y="4483100"/>
              <a:ext cx="354013" cy="173038"/>
            </a:xfrm>
            <a:custGeom>
              <a:avLst/>
              <a:gdLst>
                <a:gd name="T0" fmla="*/ 210 w 223"/>
                <a:gd name="T1" fmla="*/ 40 h 109"/>
                <a:gd name="T2" fmla="*/ 209 w 223"/>
                <a:gd name="T3" fmla="*/ 38 h 109"/>
                <a:gd name="T4" fmla="*/ 211 w 223"/>
                <a:gd name="T5" fmla="*/ 0 h 109"/>
                <a:gd name="T6" fmla="*/ 203 w 223"/>
                <a:gd name="T7" fmla="*/ 4 h 109"/>
                <a:gd name="T8" fmla="*/ 201 w 223"/>
                <a:gd name="T9" fmla="*/ 5 h 109"/>
                <a:gd name="T10" fmla="*/ 199 w 223"/>
                <a:gd name="T11" fmla="*/ 36 h 109"/>
                <a:gd name="T12" fmla="*/ 197 w 223"/>
                <a:gd name="T13" fmla="*/ 34 h 109"/>
                <a:gd name="T14" fmla="*/ 194 w 223"/>
                <a:gd name="T15" fmla="*/ 34 h 109"/>
                <a:gd name="T16" fmla="*/ 185 w 223"/>
                <a:gd name="T17" fmla="*/ 37 h 109"/>
                <a:gd name="T18" fmla="*/ 173 w 223"/>
                <a:gd name="T19" fmla="*/ 48 h 109"/>
                <a:gd name="T20" fmla="*/ 168 w 223"/>
                <a:gd name="T21" fmla="*/ 62 h 109"/>
                <a:gd name="T22" fmla="*/ 170 w 223"/>
                <a:gd name="T23" fmla="*/ 71 h 109"/>
                <a:gd name="T24" fmla="*/ 174 w 223"/>
                <a:gd name="T25" fmla="*/ 79 h 109"/>
                <a:gd name="T26" fmla="*/ 178 w 223"/>
                <a:gd name="T27" fmla="*/ 83 h 109"/>
                <a:gd name="T28" fmla="*/ 166 w 223"/>
                <a:gd name="T29" fmla="*/ 92 h 109"/>
                <a:gd name="T30" fmla="*/ 147 w 223"/>
                <a:gd name="T31" fmla="*/ 99 h 109"/>
                <a:gd name="T32" fmla="*/ 112 w 223"/>
                <a:gd name="T33" fmla="*/ 96 h 109"/>
                <a:gd name="T34" fmla="*/ 73 w 223"/>
                <a:gd name="T35" fmla="*/ 79 h 109"/>
                <a:gd name="T36" fmla="*/ 70 w 223"/>
                <a:gd name="T37" fmla="*/ 77 h 109"/>
                <a:gd name="T38" fmla="*/ 64 w 223"/>
                <a:gd name="T39" fmla="*/ 73 h 109"/>
                <a:gd name="T40" fmla="*/ 61 w 223"/>
                <a:gd name="T41" fmla="*/ 71 h 109"/>
                <a:gd name="T42" fmla="*/ 60 w 223"/>
                <a:gd name="T43" fmla="*/ 70 h 109"/>
                <a:gd name="T44" fmla="*/ 58 w 223"/>
                <a:gd name="T45" fmla="*/ 69 h 109"/>
                <a:gd name="T46" fmla="*/ 57 w 223"/>
                <a:gd name="T47" fmla="*/ 67 h 109"/>
                <a:gd name="T48" fmla="*/ 11 w 223"/>
                <a:gd name="T49" fmla="*/ 28 h 109"/>
                <a:gd name="T50" fmla="*/ 0 w 223"/>
                <a:gd name="T51" fmla="*/ 26 h 109"/>
                <a:gd name="T52" fmla="*/ 36 w 223"/>
                <a:gd name="T53" fmla="*/ 63 h 109"/>
                <a:gd name="T54" fmla="*/ 49 w 223"/>
                <a:gd name="T55" fmla="*/ 74 h 109"/>
                <a:gd name="T56" fmla="*/ 50 w 223"/>
                <a:gd name="T57" fmla="*/ 75 h 109"/>
                <a:gd name="T58" fmla="*/ 53 w 223"/>
                <a:gd name="T59" fmla="*/ 77 h 109"/>
                <a:gd name="T60" fmla="*/ 58 w 223"/>
                <a:gd name="T61" fmla="*/ 80 h 109"/>
                <a:gd name="T62" fmla="*/ 62 w 223"/>
                <a:gd name="T63" fmla="*/ 83 h 109"/>
                <a:gd name="T64" fmla="*/ 100 w 223"/>
                <a:gd name="T65" fmla="*/ 103 h 109"/>
                <a:gd name="T66" fmla="*/ 136 w 223"/>
                <a:gd name="T67" fmla="*/ 109 h 109"/>
                <a:gd name="T68" fmla="*/ 154 w 223"/>
                <a:gd name="T69" fmla="*/ 107 h 109"/>
                <a:gd name="T70" fmla="*/ 172 w 223"/>
                <a:gd name="T71" fmla="*/ 100 h 109"/>
                <a:gd name="T72" fmla="*/ 186 w 223"/>
                <a:gd name="T73" fmla="*/ 87 h 109"/>
                <a:gd name="T74" fmla="*/ 191 w 223"/>
                <a:gd name="T75" fmla="*/ 88 h 109"/>
                <a:gd name="T76" fmla="*/ 195 w 223"/>
                <a:gd name="T77" fmla="*/ 90 h 109"/>
                <a:gd name="T78" fmla="*/ 211 w 223"/>
                <a:gd name="T79" fmla="*/ 84 h 109"/>
                <a:gd name="T80" fmla="*/ 220 w 223"/>
                <a:gd name="T81" fmla="*/ 73 h 109"/>
                <a:gd name="T82" fmla="*/ 223 w 223"/>
                <a:gd name="T83" fmla="*/ 62 h 109"/>
                <a:gd name="T84" fmla="*/ 216 w 223"/>
                <a:gd name="T85" fmla="*/ 4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3" h="109">
                  <a:moveTo>
                    <a:pt x="212" y="41"/>
                  </a:moveTo>
                  <a:lnTo>
                    <a:pt x="212" y="41"/>
                  </a:lnTo>
                  <a:lnTo>
                    <a:pt x="210" y="40"/>
                  </a:lnTo>
                  <a:lnTo>
                    <a:pt x="210" y="40"/>
                  </a:lnTo>
                  <a:lnTo>
                    <a:pt x="209" y="38"/>
                  </a:lnTo>
                  <a:lnTo>
                    <a:pt x="209" y="38"/>
                  </a:lnTo>
                  <a:lnTo>
                    <a:pt x="210" y="20"/>
                  </a:lnTo>
                  <a:lnTo>
                    <a:pt x="211" y="0"/>
                  </a:lnTo>
                  <a:lnTo>
                    <a:pt x="211" y="0"/>
                  </a:lnTo>
                  <a:lnTo>
                    <a:pt x="209" y="1"/>
                  </a:lnTo>
                  <a:lnTo>
                    <a:pt x="209" y="1"/>
                  </a:lnTo>
                  <a:lnTo>
                    <a:pt x="203" y="4"/>
                  </a:lnTo>
                  <a:lnTo>
                    <a:pt x="201" y="5"/>
                  </a:lnTo>
                  <a:lnTo>
                    <a:pt x="201" y="5"/>
                  </a:lnTo>
                  <a:lnTo>
                    <a:pt x="201" y="5"/>
                  </a:lnTo>
                  <a:lnTo>
                    <a:pt x="201" y="5"/>
                  </a:lnTo>
                  <a:lnTo>
                    <a:pt x="201" y="21"/>
                  </a:lnTo>
                  <a:lnTo>
                    <a:pt x="199" y="36"/>
                  </a:lnTo>
                  <a:lnTo>
                    <a:pt x="199" y="36"/>
                  </a:lnTo>
                  <a:lnTo>
                    <a:pt x="197" y="34"/>
                  </a:lnTo>
                  <a:lnTo>
                    <a:pt x="197" y="34"/>
                  </a:lnTo>
                  <a:lnTo>
                    <a:pt x="195" y="34"/>
                  </a:lnTo>
                  <a:lnTo>
                    <a:pt x="195" y="34"/>
                  </a:lnTo>
                  <a:lnTo>
                    <a:pt x="194" y="34"/>
                  </a:lnTo>
                  <a:lnTo>
                    <a:pt x="194" y="34"/>
                  </a:lnTo>
                  <a:lnTo>
                    <a:pt x="189" y="36"/>
                  </a:lnTo>
                  <a:lnTo>
                    <a:pt x="185" y="37"/>
                  </a:lnTo>
                  <a:lnTo>
                    <a:pt x="180" y="40"/>
                  </a:lnTo>
                  <a:lnTo>
                    <a:pt x="176" y="44"/>
                  </a:lnTo>
                  <a:lnTo>
                    <a:pt x="173" y="48"/>
                  </a:lnTo>
                  <a:lnTo>
                    <a:pt x="170" y="51"/>
                  </a:lnTo>
                  <a:lnTo>
                    <a:pt x="169" y="57"/>
                  </a:lnTo>
                  <a:lnTo>
                    <a:pt x="168" y="62"/>
                  </a:lnTo>
                  <a:lnTo>
                    <a:pt x="168" y="62"/>
                  </a:lnTo>
                  <a:lnTo>
                    <a:pt x="169" y="67"/>
                  </a:lnTo>
                  <a:lnTo>
                    <a:pt x="170" y="71"/>
                  </a:lnTo>
                  <a:lnTo>
                    <a:pt x="172" y="75"/>
                  </a:lnTo>
                  <a:lnTo>
                    <a:pt x="174" y="79"/>
                  </a:lnTo>
                  <a:lnTo>
                    <a:pt x="174" y="79"/>
                  </a:lnTo>
                  <a:lnTo>
                    <a:pt x="177" y="82"/>
                  </a:lnTo>
                  <a:lnTo>
                    <a:pt x="177" y="82"/>
                  </a:lnTo>
                  <a:lnTo>
                    <a:pt x="178" y="83"/>
                  </a:lnTo>
                  <a:lnTo>
                    <a:pt x="178" y="83"/>
                  </a:lnTo>
                  <a:lnTo>
                    <a:pt x="172" y="88"/>
                  </a:lnTo>
                  <a:lnTo>
                    <a:pt x="166" y="92"/>
                  </a:lnTo>
                  <a:lnTo>
                    <a:pt x="166" y="92"/>
                  </a:lnTo>
                  <a:lnTo>
                    <a:pt x="157" y="96"/>
                  </a:lnTo>
                  <a:lnTo>
                    <a:pt x="147" y="99"/>
                  </a:lnTo>
                  <a:lnTo>
                    <a:pt x="136" y="100"/>
                  </a:lnTo>
                  <a:lnTo>
                    <a:pt x="124" y="99"/>
                  </a:lnTo>
                  <a:lnTo>
                    <a:pt x="112" y="96"/>
                  </a:lnTo>
                  <a:lnTo>
                    <a:pt x="99" y="92"/>
                  </a:lnTo>
                  <a:lnTo>
                    <a:pt x="87" y="86"/>
                  </a:lnTo>
                  <a:lnTo>
                    <a:pt x="73" y="79"/>
                  </a:lnTo>
                  <a:lnTo>
                    <a:pt x="73" y="79"/>
                  </a:lnTo>
                  <a:lnTo>
                    <a:pt x="71" y="78"/>
                  </a:lnTo>
                  <a:lnTo>
                    <a:pt x="70" y="77"/>
                  </a:lnTo>
                  <a:lnTo>
                    <a:pt x="70" y="77"/>
                  </a:lnTo>
                  <a:lnTo>
                    <a:pt x="64" y="73"/>
                  </a:lnTo>
                  <a:lnTo>
                    <a:pt x="64" y="73"/>
                  </a:lnTo>
                  <a:lnTo>
                    <a:pt x="61" y="71"/>
                  </a:lnTo>
                  <a:lnTo>
                    <a:pt x="61" y="71"/>
                  </a:lnTo>
                  <a:lnTo>
                    <a:pt x="61" y="71"/>
                  </a:lnTo>
                  <a:lnTo>
                    <a:pt x="61" y="71"/>
                  </a:lnTo>
                  <a:lnTo>
                    <a:pt x="60" y="70"/>
                  </a:lnTo>
                  <a:lnTo>
                    <a:pt x="60" y="70"/>
                  </a:lnTo>
                  <a:lnTo>
                    <a:pt x="60" y="70"/>
                  </a:lnTo>
                  <a:lnTo>
                    <a:pt x="60" y="70"/>
                  </a:lnTo>
                  <a:lnTo>
                    <a:pt x="58" y="69"/>
                  </a:lnTo>
                  <a:lnTo>
                    <a:pt x="58" y="69"/>
                  </a:lnTo>
                  <a:lnTo>
                    <a:pt x="57" y="67"/>
                  </a:lnTo>
                  <a:lnTo>
                    <a:pt x="57" y="67"/>
                  </a:lnTo>
                  <a:lnTo>
                    <a:pt x="36" y="50"/>
                  </a:lnTo>
                  <a:lnTo>
                    <a:pt x="15" y="29"/>
                  </a:lnTo>
                  <a:lnTo>
                    <a:pt x="11" y="28"/>
                  </a:lnTo>
                  <a:lnTo>
                    <a:pt x="11" y="28"/>
                  </a:lnTo>
                  <a:lnTo>
                    <a:pt x="0" y="26"/>
                  </a:lnTo>
                  <a:lnTo>
                    <a:pt x="0" y="26"/>
                  </a:lnTo>
                  <a:lnTo>
                    <a:pt x="11" y="40"/>
                  </a:lnTo>
                  <a:lnTo>
                    <a:pt x="24" y="53"/>
                  </a:lnTo>
                  <a:lnTo>
                    <a:pt x="36" y="63"/>
                  </a:lnTo>
                  <a:lnTo>
                    <a:pt x="49" y="74"/>
                  </a:lnTo>
                  <a:lnTo>
                    <a:pt x="49" y="74"/>
                  </a:lnTo>
                  <a:lnTo>
                    <a:pt x="49" y="74"/>
                  </a:lnTo>
                  <a:lnTo>
                    <a:pt x="49" y="74"/>
                  </a:lnTo>
                  <a:lnTo>
                    <a:pt x="50" y="75"/>
                  </a:lnTo>
                  <a:lnTo>
                    <a:pt x="50" y="75"/>
                  </a:lnTo>
                  <a:lnTo>
                    <a:pt x="53" y="77"/>
                  </a:lnTo>
                  <a:lnTo>
                    <a:pt x="53" y="77"/>
                  </a:lnTo>
                  <a:lnTo>
                    <a:pt x="53" y="77"/>
                  </a:lnTo>
                  <a:lnTo>
                    <a:pt x="53" y="77"/>
                  </a:lnTo>
                  <a:lnTo>
                    <a:pt x="58" y="80"/>
                  </a:lnTo>
                  <a:lnTo>
                    <a:pt x="58" y="80"/>
                  </a:lnTo>
                  <a:lnTo>
                    <a:pt x="60" y="82"/>
                  </a:lnTo>
                  <a:lnTo>
                    <a:pt x="60" y="82"/>
                  </a:lnTo>
                  <a:lnTo>
                    <a:pt x="62" y="83"/>
                  </a:lnTo>
                  <a:lnTo>
                    <a:pt x="62" y="83"/>
                  </a:lnTo>
                  <a:lnTo>
                    <a:pt x="81" y="95"/>
                  </a:lnTo>
                  <a:lnTo>
                    <a:pt x="100" y="103"/>
                  </a:lnTo>
                  <a:lnTo>
                    <a:pt x="119" y="108"/>
                  </a:lnTo>
                  <a:lnTo>
                    <a:pt x="128" y="109"/>
                  </a:lnTo>
                  <a:lnTo>
                    <a:pt x="136" y="109"/>
                  </a:lnTo>
                  <a:lnTo>
                    <a:pt x="136" y="109"/>
                  </a:lnTo>
                  <a:lnTo>
                    <a:pt x="145" y="109"/>
                  </a:lnTo>
                  <a:lnTo>
                    <a:pt x="154" y="107"/>
                  </a:lnTo>
                  <a:lnTo>
                    <a:pt x="164" y="104"/>
                  </a:lnTo>
                  <a:lnTo>
                    <a:pt x="172" y="100"/>
                  </a:lnTo>
                  <a:lnTo>
                    <a:pt x="172" y="100"/>
                  </a:lnTo>
                  <a:lnTo>
                    <a:pt x="180" y="95"/>
                  </a:lnTo>
                  <a:lnTo>
                    <a:pt x="186" y="87"/>
                  </a:lnTo>
                  <a:lnTo>
                    <a:pt x="186" y="87"/>
                  </a:lnTo>
                  <a:lnTo>
                    <a:pt x="189" y="88"/>
                  </a:lnTo>
                  <a:lnTo>
                    <a:pt x="189" y="88"/>
                  </a:lnTo>
                  <a:lnTo>
                    <a:pt x="191" y="88"/>
                  </a:lnTo>
                  <a:lnTo>
                    <a:pt x="191" y="88"/>
                  </a:lnTo>
                  <a:lnTo>
                    <a:pt x="195" y="90"/>
                  </a:lnTo>
                  <a:lnTo>
                    <a:pt x="195" y="90"/>
                  </a:lnTo>
                  <a:lnTo>
                    <a:pt x="201" y="88"/>
                  </a:lnTo>
                  <a:lnTo>
                    <a:pt x="206" y="87"/>
                  </a:lnTo>
                  <a:lnTo>
                    <a:pt x="211" y="84"/>
                  </a:lnTo>
                  <a:lnTo>
                    <a:pt x="215" y="82"/>
                  </a:lnTo>
                  <a:lnTo>
                    <a:pt x="218" y="78"/>
                  </a:lnTo>
                  <a:lnTo>
                    <a:pt x="220" y="73"/>
                  </a:lnTo>
                  <a:lnTo>
                    <a:pt x="222" y="67"/>
                  </a:lnTo>
                  <a:lnTo>
                    <a:pt x="223" y="62"/>
                  </a:lnTo>
                  <a:lnTo>
                    <a:pt x="223" y="62"/>
                  </a:lnTo>
                  <a:lnTo>
                    <a:pt x="222" y="55"/>
                  </a:lnTo>
                  <a:lnTo>
                    <a:pt x="220" y="50"/>
                  </a:lnTo>
                  <a:lnTo>
                    <a:pt x="216" y="45"/>
                  </a:lnTo>
                  <a:lnTo>
                    <a:pt x="212" y="41"/>
                  </a:lnTo>
                  <a:lnTo>
                    <a:pt x="212"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solidFill>
                  <a:srgbClr val="191919"/>
                </a:solidFill>
              </a:endParaRPr>
            </a:p>
          </p:txBody>
        </p:sp>
      </p:grpSp>
      <p:sp>
        <p:nvSpPr>
          <p:cNvPr id="87" name="Title 1"/>
          <p:cNvSpPr txBox="1">
            <a:spLocks/>
          </p:cNvSpPr>
          <p:nvPr/>
        </p:nvSpPr>
        <p:spPr>
          <a:xfrm>
            <a:off x="7077099" y="4147868"/>
            <a:ext cx="1430421" cy="440675"/>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r>
              <a:rPr lang="en-US" sz="1100" cap="all" dirty="0">
                <a:solidFill>
                  <a:srgbClr val="000000"/>
                </a:solidFill>
              </a:rPr>
              <a:t>Industrial solution </a:t>
            </a:r>
            <a:br>
              <a:rPr lang="en-US" sz="1100" cap="all" dirty="0">
                <a:solidFill>
                  <a:srgbClr val="000000"/>
                </a:solidFill>
              </a:rPr>
            </a:br>
            <a:r>
              <a:rPr lang="en-US" sz="600" cap="all" dirty="0">
                <a:solidFill>
                  <a:srgbClr val="000000"/>
                </a:solidFill>
              </a:rPr>
              <a:t>local industry Involvement</a:t>
            </a:r>
          </a:p>
        </p:txBody>
      </p:sp>
    </p:spTree>
    <p:extLst>
      <p:ext uri="{BB962C8B-B14F-4D97-AF65-F5344CB8AC3E}">
        <p14:creationId xmlns:p14="http://schemas.microsoft.com/office/powerpoint/2010/main" val="41608211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711" name="Object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141" name="think-cell Slide" r:id="rId25" imgW="360" imgH="360" progId="">
                  <p:embed/>
                </p:oleObj>
              </mc:Choice>
              <mc:Fallback>
                <p:oleObj name="think-cell Slide" r:id="rId25" imgW="360" imgH="360" progId="">
                  <p:embed/>
                  <p:pic>
                    <p:nvPicPr>
                      <p:cNvPr id="72711" name="Object 2" hidden="1"/>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2712" name="Rectangle 3" hidden="1"/>
          <p:cNvSpPr>
            <a:spLocks noChangeArrowheads="1"/>
          </p:cNvSpPr>
          <p:nvPr>
            <p:custDataLst>
              <p:tags r:id="rId3"/>
            </p:custDataLst>
          </p:nvPr>
        </p:nvSpPr>
        <p:spPr bwMode="auto">
          <a:xfrm>
            <a:off x="0" y="0"/>
            <a:ext cx="146050" cy="158750"/>
          </a:xfrm>
          <a:prstGeom prst="rect">
            <a:avLst/>
          </a:prstGeom>
          <a:solidFill>
            <a:schemeClr val="accent1"/>
          </a:solidFill>
          <a:ln w="25400" algn="ctr">
            <a:solidFill>
              <a:srgbClr val="B35A03"/>
            </a:solidFill>
            <a:miter lim="800000"/>
            <a:headEnd/>
            <a:tailEnd/>
          </a:ln>
        </p:spPr>
        <p:txBody>
          <a:bodyPr wrap="none" lIns="0" tIns="0" rIns="0" bIns="0" anchor="ctr"/>
          <a:lstStyle/>
          <a:p>
            <a:pPr algn="ctr" defTabSz="743568"/>
            <a:endParaRPr lang="en-US" sz="1200" kern="0" dirty="0">
              <a:solidFill>
                <a:srgbClr val="FFFFFF"/>
              </a:solidFill>
              <a:sym typeface="Arial" pitchFamily="34" charset="0"/>
            </a:endParaRPr>
          </a:p>
        </p:txBody>
      </p:sp>
      <p:sp>
        <p:nvSpPr>
          <p:cNvPr id="126" name="Номер слайда 4"/>
          <p:cNvSpPr>
            <a:spLocks noGrp="1"/>
          </p:cNvSpPr>
          <p:nvPr>
            <p:ph type="sldNum" sz="quarter" idx="4"/>
          </p:nvPr>
        </p:nvSpPr>
        <p:spPr/>
        <p:txBody>
          <a:bodyPr/>
          <a:lstStyle/>
          <a:p>
            <a:fld id="{AD4F4A90-9DAF-410A-B921-1B31B18F5D7B}" type="slidenum">
              <a:rPr lang="ru-RU" smtClean="0">
                <a:solidFill>
                  <a:srgbClr val="003274"/>
                </a:solidFill>
              </a:rPr>
              <a:pPr/>
              <a:t>4</a:t>
            </a:fld>
            <a:endParaRPr lang="ru-RU" dirty="0">
              <a:solidFill>
                <a:srgbClr val="003274"/>
              </a:solidFill>
            </a:endParaRPr>
          </a:p>
        </p:txBody>
      </p:sp>
      <p:sp>
        <p:nvSpPr>
          <p:cNvPr id="8" name="Заголовок 7"/>
          <p:cNvSpPr>
            <a:spLocks noGrp="1"/>
          </p:cNvSpPr>
          <p:nvPr>
            <p:ph type="title"/>
          </p:nvPr>
        </p:nvSpPr>
        <p:spPr/>
        <p:txBody>
          <a:bodyPr/>
          <a:lstStyle/>
          <a:p>
            <a:pPr defTabSz="771014"/>
            <a:r>
              <a:rPr lang="en-US" dirty="0">
                <a:latin typeface="Arial" panose="020B0604020202020204" pitchFamily="34" charset="0"/>
                <a:sym typeface="Arial" pitchFamily="34" charset="0"/>
              </a:rPr>
              <a:t>Rosatom references: Global VVER Fleet</a:t>
            </a:r>
          </a:p>
        </p:txBody>
      </p:sp>
      <p:grpSp>
        <p:nvGrpSpPr>
          <p:cNvPr id="773" name="Group 104"/>
          <p:cNvGrpSpPr/>
          <p:nvPr>
            <p:custDataLst>
              <p:tags r:id="rId4"/>
            </p:custDataLst>
          </p:nvPr>
        </p:nvGrpSpPr>
        <p:grpSpPr bwMode="gray">
          <a:xfrm>
            <a:off x="-180528" y="908720"/>
            <a:ext cx="9217753" cy="6264696"/>
            <a:chOff x="1832767" y="1443381"/>
            <a:chExt cx="6240458" cy="3397253"/>
          </a:xfrm>
          <a:solidFill>
            <a:schemeClr val="bg1">
              <a:lumMod val="85000"/>
            </a:schemeClr>
          </a:solidFill>
        </p:grpSpPr>
        <p:sp>
          <p:nvSpPr>
            <p:cNvPr id="775" name="Freeform 54"/>
            <p:cNvSpPr>
              <a:spLocks noChangeAspect="1"/>
            </p:cNvSpPr>
            <p:nvPr/>
          </p:nvSpPr>
          <p:spPr bwMode="gray">
            <a:xfrm>
              <a:off x="6728614" y="3878608"/>
              <a:ext cx="704850" cy="550863"/>
            </a:xfrm>
            <a:custGeom>
              <a:avLst/>
              <a:gdLst/>
              <a:ahLst/>
              <a:cxnLst>
                <a:cxn ang="0">
                  <a:pos x="80" y="633"/>
                </a:cxn>
                <a:cxn ang="0">
                  <a:pos x="198" y="560"/>
                </a:cxn>
                <a:cxn ang="0">
                  <a:pos x="357" y="522"/>
                </a:cxn>
                <a:cxn ang="0">
                  <a:pos x="497" y="418"/>
                </a:cxn>
                <a:cxn ang="0">
                  <a:pos x="533" y="330"/>
                </a:cxn>
                <a:cxn ang="0">
                  <a:pos x="566" y="326"/>
                </a:cxn>
                <a:cxn ang="0">
                  <a:pos x="634" y="262"/>
                </a:cxn>
                <a:cxn ang="0">
                  <a:pos x="688" y="222"/>
                </a:cxn>
                <a:cxn ang="0">
                  <a:pos x="739" y="187"/>
                </a:cxn>
                <a:cxn ang="0">
                  <a:pos x="818" y="257"/>
                </a:cxn>
                <a:cxn ang="0">
                  <a:pos x="898" y="254"/>
                </a:cxn>
                <a:cxn ang="0">
                  <a:pos x="921" y="160"/>
                </a:cxn>
                <a:cxn ang="0">
                  <a:pos x="974" y="108"/>
                </a:cxn>
                <a:cxn ang="0">
                  <a:pos x="1045" y="48"/>
                </a:cxn>
                <a:cxn ang="0">
                  <a:pos x="1044" y="29"/>
                </a:cxn>
                <a:cxn ang="0">
                  <a:pos x="1116" y="65"/>
                </a:cxn>
                <a:cxn ang="0">
                  <a:pos x="1205" y="90"/>
                </a:cxn>
                <a:cxn ang="0">
                  <a:pos x="1264" y="90"/>
                </a:cxn>
                <a:cxn ang="0">
                  <a:pos x="1279" y="118"/>
                </a:cxn>
                <a:cxn ang="0">
                  <a:pos x="1243" y="165"/>
                </a:cxn>
                <a:cxn ang="0">
                  <a:pos x="1269" y="264"/>
                </a:cxn>
                <a:cxn ang="0">
                  <a:pos x="1384" y="339"/>
                </a:cxn>
                <a:cxn ang="0">
                  <a:pos x="1553" y="270"/>
                </a:cxn>
                <a:cxn ang="0">
                  <a:pos x="1575" y="72"/>
                </a:cxn>
                <a:cxn ang="0">
                  <a:pos x="1623" y="17"/>
                </a:cxn>
                <a:cxn ang="0">
                  <a:pos x="1667" y="171"/>
                </a:cxn>
                <a:cxn ang="0">
                  <a:pos x="1761" y="252"/>
                </a:cxn>
                <a:cxn ang="0">
                  <a:pos x="1806" y="416"/>
                </a:cxn>
                <a:cxn ang="0">
                  <a:pos x="1851" y="485"/>
                </a:cxn>
                <a:cxn ang="0">
                  <a:pos x="1954" y="540"/>
                </a:cxn>
                <a:cxn ang="0">
                  <a:pos x="1994" y="645"/>
                </a:cxn>
                <a:cxn ang="0">
                  <a:pos x="2054" y="661"/>
                </a:cxn>
                <a:cxn ang="0">
                  <a:pos x="2132" y="791"/>
                </a:cxn>
                <a:cxn ang="0">
                  <a:pos x="2191" y="911"/>
                </a:cxn>
                <a:cxn ang="0">
                  <a:pos x="2206" y="1090"/>
                </a:cxn>
                <a:cxn ang="0">
                  <a:pos x="2158" y="1285"/>
                </a:cxn>
                <a:cxn ang="0">
                  <a:pos x="2089" y="1365"/>
                </a:cxn>
                <a:cxn ang="0">
                  <a:pos x="2034" y="1506"/>
                </a:cxn>
                <a:cxn ang="0">
                  <a:pos x="2008" y="1625"/>
                </a:cxn>
                <a:cxn ang="0">
                  <a:pos x="1823" y="1705"/>
                </a:cxn>
                <a:cxn ang="0">
                  <a:pos x="1785" y="1704"/>
                </a:cxn>
                <a:cxn ang="0">
                  <a:pos x="1715" y="1661"/>
                </a:cxn>
                <a:cxn ang="0">
                  <a:pos x="1572" y="1674"/>
                </a:cxn>
                <a:cxn ang="0">
                  <a:pos x="1453" y="1530"/>
                </a:cxn>
                <a:cxn ang="0">
                  <a:pos x="1376" y="1406"/>
                </a:cxn>
                <a:cxn ang="0">
                  <a:pos x="1330" y="1443"/>
                </a:cxn>
                <a:cxn ang="0">
                  <a:pos x="1358" y="1317"/>
                </a:cxn>
                <a:cxn ang="0">
                  <a:pos x="1302" y="1370"/>
                </a:cxn>
                <a:cxn ang="0">
                  <a:pos x="1220" y="1433"/>
                </a:cxn>
                <a:cxn ang="0">
                  <a:pos x="1177" y="1335"/>
                </a:cxn>
                <a:cxn ang="0">
                  <a:pos x="1062" y="1253"/>
                </a:cxn>
                <a:cxn ang="0">
                  <a:pos x="779" y="1270"/>
                </a:cxn>
                <a:cxn ang="0">
                  <a:pos x="587" y="1354"/>
                </a:cxn>
                <a:cxn ang="0">
                  <a:pos x="419" y="1379"/>
                </a:cxn>
                <a:cxn ang="0">
                  <a:pos x="271" y="1452"/>
                </a:cxn>
                <a:cxn ang="0">
                  <a:pos x="130" y="1405"/>
                </a:cxn>
                <a:cxn ang="0">
                  <a:pos x="142" y="1286"/>
                </a:cxn>
                <a:cxn ang="0">
                  <a:pos x="66" y="1024"/>
                </a:cxn>
                <a:cxn ang="0">
                  <a:pos x="12" y="897"/>
                </a:cxn>
                <a:cxn ang="0">
                  <a:pos x="35" y="884"/>
                </a:cxn>
                <a:cxn ang="0">
                  <a:pos x="8" y="758"/>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79" name="Freeform 58"/>
            <p:cNvSpPr>
              <a:spLocks noChangeAspect="1"/>
            </p:cNvSpPr>
            <p:nvPr/>
          </p:nvSpPr>
          <p:spPr bwMode="gray">
            <a:xfrm>
              <a:off x="5965028" y="2859432"/>
              <a:ext cx="192088" cy="92075"/>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80" name="Freeform 59"/>
            <p:cNvSpPr>
              <a:spLocks noChangeAspect="1"/>
            </p:cNvSpPr>
            <p:nvPr/>
          </p:nvSpPr>
          <p:spPr bwMode="gray">
            <a:xfrm>
              <a:off x="5933277" y="2910233"/>
              <a:ext cx="131763" cy="98425"/>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81" name="Freeform 60"/>
            <p:cNvSpPr>
              <a:spLocks noChangeAspect="1"/>
            </p:cNvSpPr>
            <p:nvPr/>
          </p:nvSpPr>
          <p:spPr bwMode="gray">
            <a:xfrm>
              <a:off x="5995189" y="2930871"/>
              <a:ext cx="4763" cy="6350"/>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82" name="Freeform 61"/>
            <p:cNvSpPr>
              <a:spLocks noChangeAspect="1"/>
            </p:cNvSpPr>
            <p:nvPr/>
          </p:nvSpPr>
          <p:spPr bwMode="gray">
            <a:xfrm>
              <a:off x="6006302" y="2934046"/>
              <a:ext cx="4763" cy="3175"/>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83" name="Freeform 62"/>
            <p:cNvSpPr>
              <a:spLocks noChangeAspect="1"/>
            </p:cNvSpPr>
            <p:nvPr/>
          </p:nvSpPr>
          <p:spPr bwMode="gray">
            <a:xfrm>
              <a:off x="5987252" y="2937221"/>
              <a:ext cx="3175" cy="3175"/>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84" name="Freeform 63"/>
            <p:cNvSpPr>
              <a:spLocks noChangeAspect="1"/>
            </p:cNvSpPr>
            <p:nvPr/>
          </p:nvSpPr>
          <p:spPr bwMode="gray">
            <a:xfrm>
              <a:off x="5812627" y="2968970"/>
              <a:ext cx="250825" cy="190500"/>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85" name="Freeform 64"/>
            <p:cNvSpPr>
              <a:spLocks noChangeAspect="1"/>
            </p:cNvSpPr>
            <p:nvPr/>
          </p:nvSpPr>
          <p:spPr bwMode="gray">
            <a:xfrm>
              <a:off x="6419051" y="3594445"/>
              <a:ext cx="188913" cy="200025"/>
            </a:xfrm>
            <a:custGeom>
              <a:avLst/>
              <a:gdLst/>
              <a:ahLst/>
              <a:cxnLst>
                <a:cxn ang="0">
                  <a:pos x="10" y="0"/>
                </a:cxn>
                <a:cxn ang="0">
                  <a:pos x="35" y="3"/>
                </a:cxn>
                <a:cxn ang="0">
                  <a:pos x="62" y="19"/>
                </a:cxn>
                <a:cxn ang="0">
                  <a:pos x="100" y="19"/>
                </a:cxn>
                <a:cxn ang="0">
                  <a:pos x="130" y="26"/>
                </a:cxn>
                <a:cxn ang="0">
                  <a:pos x="151" y="51"/>
                </a:cxn>
                <a:cxn ang="0">
                  <a:pos x="168" y="72"/>
                </a:cxn>
                <a:cxn ang="0">
                  <a:pos x="196" y="102"/>
                </a:cxn>
                <a:cxn ang="0">
                  <a:pos x="251" y="136"/>
                </a:cxn>
                <a:cxn ang="0">
                  <a:pos x="277" y="159"/>
                </a:cxn>
                <a:cxn ang="0">
                  <a:pos x="302" y="190"/>
                </a:cxn>
                <a:cxn ang="0">
                  <a:pos x="311" y="184"/>
                </a:cxn>
                <a:cxn ang="0">
                  <a:pos x="338" y="211"/>
                </a:cxn>
                <a:cxn ang="0">
                  <a:pos x="355" y="217"/>
                </a:cxn>
                <a:cxn ang="0">
                  <a:pos x="382" y="242"/>
                </a:cxn>
                <a:cxn ang="0">
                  <a:pos x="391" y="236"/>
                </a:cxn>
                <a:cxn ang="0">
                  <a:pos x="423" y="247"/>
                </a:cxn>
                <a:cxn ang="0">
                  <a:pos x="431" y="259"/>
                </a:cxn>
                <a:cxn ang="0">
                  <a:pos x="425" y="270"/>
                </a:cxn>
                <a:cxn ang="0">
                  <a:pos x="417" y="290"/>
                </a:cxn>
                <a:cxn ang="0">
                  <a:pos x="430" y="287"/>
                </a:cxn>
                <a:cxn ang="0">
                  <a:pos x="453" y="281"/>
                </a:cxn>
                <a:cxn ang="0">
                  <a:pos x="467" y="303"/>
                </a:cxn>
                <a:cxn ang="0">
                  <a:pos x="463" y="320"/>
                </a:cxn>
                <a:cxn ang="0">
                  <a:pos x="450" y="344"/>
                </a:cxn>
                <a:cxn ang="0">
                  <a:pos x="474" y="361"/>
                </a:cxn>
                <a:cxn ang="0">
                  <a:pos x="490" y="363"/>
                </a:cxn>
                <a:cxn ang="0">
                  <a:pos x="509" y="384"/>
                </a:cxn>
                <a:cxn ang="0">
                  <a:pos x="510" y="409"/>
                </a:cxn>
                <a:cxn ang="0">
                  <a:pos x="532" y="420"/>
                </a:cxn>
                <a:cxn ang="0">
                  <a:pos x="542" y="435"/>
                </a:cxn>
                <a:cxn ang="0">
                  <a:pos x="570" y="440"/>
                </a:cxn>
                <a:cxn ang="0">
                  <a:pos x="584" y="462"/>
                </a:cxn>
                <a:cxn ang="0">
                  <a:pos x="591" y="487"/>
                </a:cxn>
                <a:cxn ang="0">
                  <a:pos x="587" y="512"/>
                </a:cxn>
                <a:cxn ang="0">
                  <a:pos x="582" y="548"/>
                </a:cxn>
                <a:cxn ang="0">
                  <a:pos x="581" y="613"/>
                </a:cxn>
                <a:cxn ang="0">
                  <a:pos x="563" y="613"/>
                </a:cxn>
                <a:cxn ang="0">
                  <a:pos x="549" y="619"/>
                </a:cxn>
                <a:cxn ang="0">
                  <a:pos x="516" y="608"/>
                </a:cxn>
                <a:cxn ang="0">
                  <a:pos x="508" y="618"/>
                </a:cxn>
                <a:cxn ang="0">
                  <a:pos x="478" y="586"/>
                </a:cxn>
                <a:cxn ang="0">
                  <a:pos x="455" y="571"/>
                </a:cxn>
                <a:cxn ang="0">
                  <a:pos x="409" y="535"/>
                </a:cxn>
                <a:cxn ang="0">
                  <a:pos x="388" y="508"/>
                </a:cxn>
                <a:cxn ang="0">
                  <a:pos x="363" y="484"/>
                </a:cxn>
                <a:cxn ang="0">
                  <a:pos x="312" y="426"/>
                </a:cxn>
                <a:cxn ang="0">
                  <a:pos x="286" y="355"/>
                </a:cxn>
                <a:cxn ang="0">
                  <a:pos x="264" y="328"/>
                </a:cxn>
                <a:cxn ang="0">
                  <a:pos x="232" y="293"/>
                </a:cxn>
                <a:cxn ang="0">
                  <a:pos x="221" y="291"/>
                </a:cxn>
                <a:cxn ang="0">
                  <a:pos x="205" y="237"/>
                </a:cxn>
                <a:cxn ang="0">
                  <a:pos x="191" y="205"/>
                </a:cxn>
                <a:cxn ang="0">
                  <a:pos x="151" y="182"/>
                </a:cxn>
                <a:cxn ang="0">
                  <a:pos x="123" y="146"/>
                </a:cxn>
                <a:cxn ang="0">
                  <a:pos x="105" y="118"/>
                </a:cxn>
                <a:cxn ang="0">
                  <a:pos x="76" y="103"/>
                </a:cxn>
                <a:cxn ang="0">
                  <a:pos x="51" y="77"/>
                </a:cxn>
                <a:cxn ang="0">
                  <a:pos x="12" y="39"/>
                </a:cxn>
                <a:cxn ang="0">
                  <a:pos x="0" y="1"/>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grp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786" name="Freeform 65"/>
            <p:cNvSpPr>
              <a:spLocks noChangeAspect="1"/>
            </p:cNvSpPr>
            <p:nvPr/>
          </p:nvSpPr>
          <p:spPr bwMode="gray">
            <a:xfrm>
              <a:off x="6593676" y="3794470"/>
              <a:ext cx="160338" cy="50800"/>
            </a:xfrm>
            <a:custGeom>
              <a:avLst/>
              <a:gdLst/>
              <a:ahLst/>
              <a:cxnLst>
                <a:cxn ang="0">
                  <a:pos x="364" y="129"/>
                </a:cxn>
                <a:cxn ang="0">
                  <a:pos x="334" y="130"/>
                </a:cxn>
                <a:cxn ang="0">
                  <a:pos x="326" y="124"/>
                </a:cxn>
                <a:cxn ang="0">
                  <a:pos x="314" y="126"/>
                </a:cxn>
                <a:cxn ang="0">
                  <a:pos x="288" y="120"/>
                </a:cxn>
                <a:cxn ang="0">
                  <a:pos x="272" y="110"/>
                </a:cxn>
                <a:cxn ang="0">
                  <a:pos x="257" y="102"/>
                </a:cxn>
                <a:cxn ang="0">
                  <a:pos x="231" y="99"/>
                </a:cxn>
                <a:cxn ang="0">
                  <a:pos x="212" y="97"/>
                </a:cxn>
                <a:cxn ang="0">
                  <a:pos x="203" y="99"/>
                </a:cxn>
                <a:cxn ang="0">
                  <a:pos x="191" y="96"/>
                </a:cxn>
                <a:cxn ang="0">
                  <a:pos x="181" y="103"/>
                </a:cxn>
                <a:cxn ang="0">
                  <a:pos x="142" y="96"/>
                </a:cxn>
                <a:cxn ang="0">
                  <a:pos x="116" y="87"/>
                </a:cxn>
                <a:cxn ang="0">
                  <a:pos x="85" y="83"/>
                </a:cxn>
                <a:cxn ang="0">
                  <a:pos x="67" y="76"/>
                </a:cxn>
                <a:cxn ang="0">
                  <a:pos x="72" y="60"/>
                </a:cxn>
                <a:cxn ang="0">
                  <a:pos x="62" y="59"/>
                </a:cxn>
                <a:cxn ang="0">
                  <a:pos x="24" y="50"/>
                </a:cxn>
                <a:cxn ang="0">
                  <a:pos x="6" y="46"/>
                </a:cxn>
                <a:cxn ang="0">
                  <a:pos x="3" y="38"/>
                </a:cxn>
                <a:cxn ang="0">
                  <a:pos x="9" y="41"/>
                </a:cxn>
                <a:cxn ang="0">
                  <a:pos x="20" y="38"/>
                </a:cxn>
                <a:cxn ang="0">
                  <a:pos x="29" y="30"/>
                </a:cxn>
                <a:cxn ang="0">
                  <a:pos x="36" y="14"/>
                </a:cxn>
                <a:cxn ang="0">
                  <a:pos x="53" y="1"/>
                </a:cxn>
                <a:cxn ang="0">
                  <a:pos x="102" y="0"/>
                </a:cxn>
                <a:cxn ang="0">
                  <a:pos x="119" y="7"/>
                </a:cxn>
                <a:cxn ang="0">
                  <a:pos x="132" y="16"/>
                </a:cxn>
                <a:cxn ang="0">
                  <a:pos x="154" y="18"/>
                </a:cxn>
                <a:cxn ang="0">
                  <a:pos x="177" y="33"/>
                </a:cxn>
                <a:cxn ang="0">
                  <a:pos x="196" y="49"/>
                </a:cxn>
                <a:cxn ang="0">
                  <a:pos x="228" y="49"/>
                </a:cxn>
                <a:cxn ang="0">
                  <a:pos x="261" y="53"/>
                </a:cxn>
                <a:cxn ang="0">
                  <a:pos x="279" y="56"/>
                </a:cxn>
                <a:cxn ang="0">
                  <a:pos x="295" y="39"/>
                </a:cxn>
                <a:cxn ang="0">
                  <a:pos x="304" y="25"/>
                </a:cxn>
                <a:cxn ang="0">
                  <a:pos x="317" y="35"/>
                </a:cxn>
                <a:cxn ang="0">
                  <a:pos x="333" y="41"/>
                </a:cxn>
                <a:cxn ang="0">
                  <a:pos x="347" y="40"/>
                </a:cxn>
                <a:cxn ang="0">
                  <a:pos x="358" y="45"/>
                </a:cxn>
                <a:cxn ang="0">
                  <a:pos x="373" y="51"/>
                </a:cxn>
                <a:cxn ang="0">
                  <a:pos x="397" y="55"/>
                </a:cxn>
                <a:cxn ang="0">
                  <a:pos x="412" y="75"/>
                </a:cxn>
                <a:cxn ang="0">
                  <a:pos x="424" y="96"/>
                </a:cxn>
                <a:cxn ang="0">
                  <a:pos x="456" y="97"/>
                </a:cxn>
                <a:cxn ang="0">
                  <a:pos x="481" y="94"/>
                </a:cxn>
                <a:cxn ang="0">
                  <a:pos x="499" y="103"/>
                </a:cxn>
                <a:cxn ang="0">
                  <a:pos x="497" y="136"/>
                </a:cxn>
                <a:cxn ang="0">
                  <a:pos x="503" y="148"/>
                </a:cxn>
                <a:cxn ang="0">
                  <a:pos x="502" y="156"/>
                </a:cxn>
                <a:cxn ang="0">
                  <a:pos x="462" y="141"/>
                </a:cxn>
                <a:cxn ang="0">
                  <a:pos x="433" y="130"/>
                </a:cxn>
                <a:cxn ang="0">
                  <a:pos x="392" y="136"/>
                </a:cxn>
                <a:cxn ang="0">
                  <a:pos x="374" y="12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solidFill>
              <a:schemeClr val="bg1">
                <a:lumMod val="85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87" name="Freeform 66"/>
            <p:cNvSpPr>
              <a:spLocks noChangeAspect="1"/>
            </p:cNvSpPr>
            <p:nvPr/>
          </p:nvSpPr>
          <p:spPr bwMode="gray">
            <a:xfrm>
              <a:off x="6657177" y="3616670"/>
              <a:ext cx="173038" cy="147638"/>
            </a:xfrm>
            <a:custGeom>
              <a:avLst/>
              <a:gdLst/>
              <a:ahLst/>
              <a:cxnLst>
                <a:cxn ang="0">
                  <a:pos x="474" y="15"/>
                </a:cxn>
                <a:cxn ang="0">
                  <a:pos x="471" y="22"/>
                </a:cxn>
                <a:cxn ang="0">
                  <a:pos x="485" y="38"/>
                </a:cxn>
                <a:cxn ang="0">
                  <a:pos x="470" y="42"/>
                </a:cxn>
                <a:cxn ang="0">
                  <a:pos x="460" y="57"/>
                </a:cxn>
                <a:cxn ang="0">
                  <a:pos x="461" y="67"/>
                </a:cxn>
                <a:cxn ang="0">
                  <a:pos x="475" y="80"/>
                </a:cxn>
                <a:cxn ang="0">
                  <a:pos x="493" y="121"/>
                </a:cxn>
                <a:cxn ang="0">
                  <a:pos x="490" y="132"/>
                </a:cxn>
                <a:cxn ang="0">
                  <a:pos x="547" y="186"/>
                </a:cxn>
                <a:cxn ang="0">
                  <a:pos x="519" y="194"/>
                </a:cxn>
                <a:cxn ang="0">
                  <a:pos x="495" y="186"/>
                </a:cxn>
                <a:cxn ang="0">
                  <a:pos x="486" y="202"/>
                </a:cxn>
                <a:cxn ang="0">
                  <a:pos x="471" y="228"/>
                </a:cxn>
                <a:cxn ang="0">
                  <a:pos x="468" y="266"/>
                </a:cxn>
                <a:cxn ang="0">
                  <a:pos x="438" y="311"/>
                </a:cxn>
                <a:cxn ang="0">
                  <a:pos x="402" y="336"/>
                </a:cxn>
                <a:cxn ang="0">
                  <a:pos x="411" y="350"/>
                </a:cxn>
                <a:cxn ang="0">
                  <a:pos x="417" y="381"/>
                </a:cxn>
                <a:cxn ang="0">
                  <a:pos x="407" y="393"/>
                </a:cxn>
                <a:cxn ang="0">
                  <a:pos x="398" y="407"/>
                </a:cxn>
                <a:cxn ang="0">
                  <a:pos x="394" y="417"/>
                </a:cxn>
                <a:cxn ang="0">
                  <a:pos x="374" y="441"/>
                </a:cxn>
                <a:cxn ang="0">
                  <a:pos x="324" y="465"/>
                </a:cxn>
                <a:cxn ang="0">
                  <a:pos x="308" y="433"/>
                </a:cxn>
                <a:cxn ang="0">
                  <a:pos x="293" y="423"/>
                </a:cxn>
                <a:cxn ang="0">
                  <a:pos x="262" y="428"/>
                </a:cxn>
                <a:cxn ang="0">
                  <a:pos x="240" y="414"/>
                </a:cxn>
                <a:cxn ang="0">
                  <a:pos x="221" y="408"/>
                </a:cxn>
                <a:cxn ang="0">
                  <a:pos x="201" y="424"/>
                </a:cxn>
                <a:cxn ang="0">
                  <a:pos x="174" y="427"/>
                </a:cxn>
                <a:cxn ang="0">
                  <a:pos x="160" y="430"/>
                </a:cxn>
                <a:cxn ang="0">
                  <a:pos x="146" y="398"/>
                </a:cxn>
                <a:cxn ang="0">
                  <a:pos x="129" y="398"/>
                </a:cxn>
                <a:cxn ang="0">
                  <a:pos x="110" y="406"/>
                </a:cxn>
                <a:cxn ang="0">
                  <a:pos x="84" y="397"/>
                </a:cxn>
                <a:cxn ang="0">
                  <a:pos x="70" y="387"/>
                </a:cxn>
                <a:cxn ang="0">
                  <a:pos x="62" y="353"/>
                </a:cxn>
                <a:cxn ang="0">
                  <a:pos x="59" y="333"/>
                </a:cxn>
                <a:cxn ang="0">
                  <a:pos x="55" y="305"/>
                </a:cxn>
                <a:cxn ang="0">
                  <a:pos x="39" y="278"/>
                </a:cxn>
                <a:cxn ang="0">
                  <a:pos x="18" y="268"/>
                </a:cxn>
                <a:cxn ang="0">
                  <a:pos x="11" y="233"/>
                </a:cxn>
                <a:cxn ang="0">
                  <a:pos x="1" y="214"/>
                </a:cxn>
                <a:cxn ang="0">
                  <a:pos x="7" y="163"/>
                </a:cxn>
                <a:cxn ang="0">
                  <a:pos x="25" y="134"/>
                </a:cxn>
                <a:cxn ang="0">
                  <a:pos x="60" y="174"/>
                </a:cxn>
                <a:cxn ang="0">
                  <a:pos x="99" y="185"/>
                </a:cxn>
                <a:cxn ang="0">
                  <a:pos x="129" y="186"/>
                </a:cxn>
                <a:cxn ang="0">
                  <a:pos x="156" y="183"/>
                </a:cxn>
                <a:cxn ang="0">
                  <a:pos x="184" y="155"/>
                </a:cxn>
                <a:cxn ang="0">
                  <a:pos x="217" y="166"/>
                </a:cxn>
                <a:cxn ang="0">
                  <a:pos x="253" y="174"/>
                </a:cxn>
                <a:cxn ang="0">
                  <a:pos x="285" y="163"/>
                </a:cxn>
                <a:cxn ang="0">
                  <a:pos x="308" y="147"/>
                </a:cxn>
                <a:cxn ang="0">
                  <a:pos x="330" y="90"/>
                </a:cxn>
                <a:cxn ang="0">
                  <a:pos x="363" y="27"/>
                </a:cxn>
                <a:cxn ang="0">
                  <a:pos x="394" y="0"/>
                </a:cxn>
                <a:cxn ang="0">
                  <a:pos x="468" y="11"/>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grp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788" name="Freeform 67"/>
            <p:cNvSpPr>
              <a:spLocks noChangeAspect="1"/>
            </p:cNvSpPr>
            <p:nvPr/>
          </p:nvSpPr>
          <p:spPr bwMode="gray">
            <a:xfrm>
              <a:off x="7344563" y="3764307"/>
              <a:ext cx="69850" cy="38100"/>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89" name="Freeform 68"/>
            <p:cNvSpPr>
              <a:spLocks noChangeAspect="1"/>
            </p:cNvSpPr>
            <p:nvPr/>
          </p:nvSpPr>
          <p:spPr bwMode="gray">
            <a:xfrm>
              <a:off x="7215977" y="3737321"/>
              <a:ext cx="173038" cy="141288"/>
            </a:xfrm>
            <a:custGeom>
              <a:avLst/>
              <a:gdLst/>
              <a:ahLst/>
              <a:cxnLst>
                <a:cxn ang="0">
                  <a:pos x="5" y="134"/>
                </a:cxn>
                <a:cxn ang="0">
                  <a:pos x="0" y="231"/>
                </a:cxn>
                <a:cxn ang="0">
                  <a:pos x="10" y="346"/>
                </a:cxn>
                <a:cxn ang="0">
                  <a:pos x="31" y="362"/>
                </a:cxn>
                <a:cxn ang="0">
                  <a:pos x="56" y="362"/>
                </a:cxn>
                <a:cxn ang="0">
                  <a:pos x="93" y="368"/>
                </a:cxn>
                <a:cxn ang="0">
                  <a:pos x="125" y="352"/>
                </a:cxn>
                <a:cxn ang="0">
                  <a:pos x="118" y="323"/>
                </a:cxn>
                <a:cxn ang="0">
                  <a:pos x="137" y="307"/>
                </a:cxn>
                <a:cxn ang="0">
                  <a:pos x="152" y="298"/>
                </a:cxn>
                <a:cxn ang="0">
                  <a:pos x="155" y="273"/>
                </a:cxn>
                <a:cxn ang="0">
                  <a:pos x="180" y="278"/>
                </a:cxn>
                <a:cxn ang="0">
                  <a:pos x="196" y="276"/>
                </a:cxn>
                <a:cxn ang="0">
                  <a:pos x="211" y="279"/>
                </a:cxn>
                <a:cxn ang="0">
                  <a:pos x="232" y="289"/>
                </a:cxn>
                <a:cxn ang="0">
                  <a:pos x="258" y="296"/>
                </a:cxn>
                <a:cxn ang="0">
                  <a:pos x="291" y="323"/>
                </a:cxn>
                <a:cxn ang="0">
                  <a:pos x="330" y="356"/>
                </a:cxn>
                <a:cxn ang="0">
                  <a:pos x="335" y="375"/>
                </a:cxn>
                <a:cxn ang="0">
                  <a:pos x="357" y="392"/>
                </a:cxn>
                <a:cxn ang="0">
                  <a:pos x="388" y="415"/>
                </a:cxn>
                <a:cxn ang="0">
                  <a:pos x="425" y="419"/>
                </a:cxn>
                <a:cxn ang="0">
                  <a:pos x="495" y="435"/>
                </a:cxn>
                <a:cxn ang="0">
                  <a:pos x="526" y="441"/>
                </a:cxn>
                <a:cxn ang="0">
                  <a:pos x="515" y="427"/>
                </a:cxn>
                <a:cxn ang="0">
                  <a:pos x="544" y="425"/>
                </a:cxn>
                <a:cxn ang="0">
                  <a:pos x="506" y="413"/>
                </a:cxn>
                <a:cxn ang="0">
                  <a:pos x="496" y="391"/>
                </a:cxn>
                <a:cxn ang="0">
                  <a:pos x="462" y="383"/>
                </a:cxn>
                <a:cxn ang="0">
                  <a:pos x="456" y="357"/>
                </a:cxn>
                <a:cxn ang="0">
                  <a:pos x="419" y="351"/>
                </a:cxn>
                <a:cxn ang="0">
                  <a:pos x="397" y="323"/>
                </a:cxn>
                <a:cxn ang="0">
                  <a:pos x="393" y="301"/>
                </a:cxn>
                <a:cxn ang="0">
                  <a:pos x="367" y="285"/>
                </a:cxn>
                <a:cxn ang="0">
                  <a:pos x="341" y="255"/>
                </a:cxn>
                <a:cxn ang="0">
                  <a:pos x="339" y="231"/>
                </a:cxn>
                <a:cxn ang="0">
                  <a:pos x="370" y="227"/>
                </a:cxn>
                <a:cxn ang="0">
                  <a:pos x="375" y="201"/>
                </a:cxn>
                <a:cxn ang="0">
                  <a:pos x="348" y="187"/>
                </a:cxn>
                <a:cxn ang="0">
                  <a:pos x="296" y="166"/>
                </a:cxn>
                <a:cxn ang="0">
                  <a:pos x="266" y="136"/>
                </a:cxn>
                <a:cxn ang="0">
                  <a:pos x="238" y="103"/>
                </a:cxn>
                <a:cxn ang="0">
                  <a:pos x="193" y="70"/>
                </a:cxn>
                <a:cxn ang="0">
                  <a:pos x="166" y="61"/>
                </a:cxn>
                <a:cxn ang="0">
                  <a:pos x="92" y="36"/>
                </a:cxn>
                <a:cxn ang="0">
                  <a:pos x="42" y="16"/>
                </a:cxn>
                <a:cxn ang="0">
                  <a:pos x="1" y="0"/>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790" name="Group 69"/>
            <p:cNvGrpSpPr>
              <a:grpSpLocks noChangeAspect="1"/>
            </p:cNvGrpSpPr>
            <p:nvPr/>
          </p:nvGrpSpPr>
          <p:grpSpPr bwMode="gray">
            <a:xfrm>
              <a:off x="6801638" y="3364257"/>
              <a:ext cx="161925" cy="231775"/>
              <a:chOff x="3802" y="2280"/>
              <a:chExt cx="102" cy="146"/>
            </a:xfrm>
            <a:grpFill/>
          </p:grpSpPr>
          <p:sp>
            <p:nvSpPr>
              <p:cNvPr id="1099" name="Freeform 70"/>
              <p:cNvSpPr>
                <a:spLocks noChangeAspect="1"/>
              </p:cNvSpPr>
              <p:nvPr/>
            </p:nvSpPr>
            <p:spPr bwMode="gray">
              <a:xfrm>
                <a:off x="3802" y="2362"/>
                <a:ext cx="25" cy="33"/>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100" name="Freeform 71"/>
              <p:cNvSpPr>
                <a:spLocks noChangeAspect="1"/>
              </p:cNvSpPr>
              <p:nvPr/>
            </p:nvSpPr>
            <p:spPr bwMode="gray">
              <a:xfrm>
                <a:off x="3835" y="2339"/>
                <a:ext cx="14" cy="14"/>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101" name="Freeform 72"/>
              <p:cNvSpPr>
                <a:spLocks noChangeAspect="1"/>
              </p:cNvSpPr>
              <p:nvPr/>
            </p:nvSpPr>
            <p:spPr bwMode="gray">
              <a:xfrm>
                <a:off x="3830" y="2280"/>
                <a:ext cx="47" cy="69"/>
              </a:xfrm>
              <a:custGeom>
                <a:avLst/>
                <a:gdLst/>
                <a:ahLst/>
                <a:cxnLst>
                  <a:cxn ang="0">
                    <a:pos x="139" y="17"/>
                  </a:cxn>
                  <a:cxn ang="0">
                    <a:pos x="129" y="44"/>
                  </a:cxn>
                  <a:cxn ang="0">
                    <a:pos x="139" y="75"/>
                  </a:cxn>
                  <a:cxn ang="0">
                    <a:pos x="146" y="97"/>
                  </a:cxn>
                  <a:cxn ang="0">
                    <a:pos x="133" y="132"/>
                  </a:cxn>
                  <a:cxn ang="0">
                    <a:pos x="120" y="144"/>
                  </a:cxn>
                  <a:cxn ang="0">
                    <a:pos x="98" y="165"/>
                  </a:cxn>
                  <a:cxn ang="0">
                    <a:pos x="87" y="188"/>
                  </a:cxn>
                  <a:cxn ang="0">
                    <a:pos x="98" y="216"/>
                  </a:cxn>
                  <a:cxn ang="0">
                    <a:pos x="99" y="238"/>
                  </a:cxn>
                  <a:cxn ang="0">
                    <a:pos x="120" y="268"/>
                  </a:cxn>
                  <a:cxn ang="0">
                    <a:pos x="131" y="261"/>
                  </a:cxn>
                  <a:cxn ang="0">
                    <a:pos x="145" y="245"/>
                  </a:cxn>
                  <a:cxn ang="0">
                    <a:pos x="167" y="245"/>
                  </a:cxn>
                  <a:cxn ang="0">
                    <a:pos x="179" y="273"/>
                  </a:cxn>
                  <a:cxn ang="0">
                    <a:pos x="189" y="259"/>
                  </a:cxn>
                  <a:cxn ang="0">
                    <a:pos x="206" y="267"/>
                  </a:cxn>
                  <a:cxn ang="0">
                    <a:pos x="215" y="279"/>
                  </a:cxn>
                  <a:cxn ang="0">
                    <a:pos x="216" y="299"/>
                  </a:cxn>
                  <a:cxn ang="0">
                    <a:pos x="220" y="312"/>
                  </a:cxn>
                  <a:cxn ang="0">
                    <a:pos x="232" y="317"/>
                  </a:cxn>
                  <a:cxn ang="0">
                    <a:pos x="231" y="345"/>
                  </a:cxn>
                  <a:cxn ang="0">
                    <a:pos x="227" y="324"/>
                  </a:cxn>
                  <a:cxn ang="0">
                    <a:pos x="201" y="317"/>
                  </a:cxn>
                  <a:cxn ang="0">
                    <a:pos x="184" y="294"/>
                  </a:cxn>
                  <a:cxn ang="0">
                    <a:pos x="166" y="279"/>
                  </a:cxn>
                  <a:cxn ang="0">
                    <a:pos x="149" y="280"/>
                  </a:cxn>
                  <a:cxn ang="0">
                    <a:pos x="152" y="306"/>
                  </a:cxn>
                  <a:cxn ang="0">
                    <a:pos x="124" y="273"/>
                  </a:cxn>
                  <a:cxn ang="0">
                    <a:pos x="98" y="268"/>
                  </a:cxn>
                  <a:cxn ang="0">
                    <a:pos x="75" y="284"/>
                  </a:cxn>
                  <a:cxn ang="0">
                    <a:pos x="56" y="270"/>
                  </a:cxn>
                  <a:cxn ang="0">
                    <a:pos x="45" y="254"/>
                  </a:cxn>
                  <a:cxn ang="0">
                    <a:pos x="61" y="231"/>
                  </a:cxn>
                  <a:cxn ang="0">
                    <a:pos x="45" y="219"/>
                  </a:cxn>
                  <a:cxn ang="0">
                    <a:pos x="33" y="230"/>
                  </a:cxn>
                  <a:cxn ang="0">
                    <a:pos x="16" y="203"/>
                  </a:cxn>
                  <a:cxn ang="0">
                    <a:pos x="0" y="138"/>
                  </a:cxn>
                  <a:cxn ang="0">
                    <a:pos x="17" y="146"/>
                  </a:cxn>
                  <a:cxn ang="0">
                    <a:pos x="29" y="97"/>
                  </a:cxn>
                  <a:cxn ang="0">
                    <a:pos x="33" y="53"/>
                  </a:cxn>
                  <a:cxn ang="0">
                    <a:pos x="43" y="7"/>
                  </a:cxn>
                  <a:cxn ang="0">
                    <a:pos x="67" y="1"/>
                  </a:cxn>
                  <a:cxn ang="0">
                    <a:pos x="113" y="17"/>
                  </a:cxn>
                  <a:cxn ang="0">
                    <a:pos x="130" y="4"/>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102" name="Freeform 73"/>
              <p:cNvSpPr>
                <a:spLocks noChangeAspect="1"/>
              </p:cNvSpPr>
              <p:nvPr/>
            </p:nvSpPr>
            <p:spPr bwMode="gray">
              <a:xfrm>
                <a:off x="3867" y="2349"/>
                <a:ext cx="9" cy="9"/>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103" name="Freeform 74"/>
              <p:cNvSpPr>
                <a:spLocks noChangeAspect="1"/>
              </p:cNvSpPr>
              <p:nvPr/>
            </p:nvSpPr>
            <p:spPr bwMode="gray">
              <a:xfrm>
                <a:off x="3879" y="2348"/>
                <a:ext cx="15" cy="17"/>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104" name="Freeform 75"/>
              <p:cNvSpPr>
                <a:spLocks noChangeAspect="1"/>
              </p:cNvSpPr>
              <p:nvPr/>
            </p:nvSpPr>
            <p:spPr bwMode="gray">
              <a:xfrm>
                <a:off x="3853" y="2356"/>
                <a:ext cx="13" cy="17"/>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105" name="Freeform 76"/>
              <p:cNvSpPr>
                <a:spLocks noChangeAspect="1"/>
              </p:cNvSpPr>
              <p:nvPr/>
            </p:nvSpPr>
            <p:spPr bwMode="gray">
              <a:xfrm>
                <a:off x="3858" y="2367"/>
                <a:ext cx="12" cy="21"/>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106" name="Freeform 77"/>
              <p:cNvSpPr>
                <a:spLocks noChangeAspect="1"/>
              </p:cNvSpPr>
              <p:nvPr/>
            </p:nvSpPr>
            <p:spPr bwMode="gray">
              <a:xfrm>
                <a:off x="3879" y="2361"/>
                <a:ext cx="10" cy="16"/>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107" name="Freeform 78"/>
              <p:cNvSpPr>
                <a:spLocks noChangeAspect="1"/>
              </p:cNvSpPr>
              <p:nvPr/>
            </p:nvSpPr>
            <p:spPr bwMode="gray">
              <a:xfrm>
                <a:off x="3869" y="2363"/>
                <a:ext cx="7" cy="2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108" name="Freeform 79"/>
              <p:cNvSpPr>
                <a:spLocks noChangeAspect="1"/>
              </p:cNvSpPr>
              <p:nvPr/>
            </p:nvSpPr>
            <p:spPr bwMode="gray">
              <a:xfrm>
                <a:off x="3874" y="2375"/>
                <a:ext cx="8" cy="7"/>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109" name="Freeform 80"/>
              <p:cNvSpPr>
                <a:spLocks noChangeAspect="1"/>
              </p:cNvSpPr>
              <p:nvPr/>
            </p:nvSpPr>
            <p:spPr bwMode="gray">
              <a:xfrm>
                <a:off x="3853" y="2380"/>
                <a:ext cx="51" cy="46"/>
              </a:xfrm>
              <a:custGeom>
                <a:avLst/>
                <a:gdLst/>
                <a:ahLst/>
                <a:cxnLst>
                  <a:cxn ang="0">
                    <a:pos x="190" y="0"/>
                  </a:cxn>
                  <a:cxn ang="0">
                    <a:pos x="207" y="10"/>
                  </a:cxn>
                  <a:cxn ang="0">
                    <a:pos x="224" y="26"/>
                  </a:cxn>
                  <a:cxn ang="0">
                    <a:pos x="233" y="33"/>
                  </a:cxn>
                  <a:cxn ang="0">
                    <a:pos x="240" y="51"/>
                  </a:cxn>
                  <a:cxn ang="0">
                    <a:pos x="242" y="70"/>
                  </a:cxn>
                  <a:cxn ang="0">
                    <a:pos x="246" y="86"/>
                  </a:cxn>
                  <a:cxn ang="0">
                    <a:pos x="250" y="110"/>
                  </a:cxn>
                  <a:cxn ang="0">
                    <a:pos x="254" y="142"/>
                  </a:cxn>
                  <a:cxn ang="0">
                    <a:pos x="243" y="152"/>
                  </a:cxn>
                  <a:cxn ang="0">
                    <a:pos x="238" y="185"/>
                  </a:cxn>
                  <a:cxn ang="0">
                    <a:pos x="227" y="167"/>
                  </a:cxn>
                  <a:cxn ang="0">
                    <a:pos x="221" y="142"/>
                  </a:cxn>
                  <a:cxn ang="0">
                    <a:pos x="212" y="131"/>
                  </a:cxn>
                  <a:cxn ang="0">
                    <a:pos x="192" y="158"/>
                  </a:cxn>
                  <a:cxn ang="0">
                    <a:pos x="197" y="179"/>
                  </a:cxn>
                  <a:cxn ang="0">
                    <a:pos x="206" y="201"/>
                  </a:cxn>
                  <a:cxn ang="0">
                    <a:pos x="194" y="227"/>
                  </a:cxn>
                  <a:cxn ang="0">
                    <a:pos x="184" y="211"/>
                  </a:cxn>
                  <a:cxn ang="0">
                    <a:pos x="174" y="211"/>
                  </a:cxn>
                  <a:cxn ang="0">
                    <a:pos x="156" y="210"/>
                  </a:cxn>
                  <a:cxn ang="0">
                    <a:pos x="125" y="189"/>
                  </a:cxn>
                  <a:cxn ang="0">
                    <a:pos x="119" y="171"/>
                  </a:cxn>
                  <a:cxn ang="0">
                    <a:pos x="113" y="150"/>
                  </a:cxn>
                  <a:cxn ang="0">
                    <a:pos x="125" y="126"/>
                  </a:cxn>
                  <a:cxn ang="0">
                    <a:pos x="105" y="108"/>
                  </a:cxn>
                  <a:cxn ang="0">
                    <a:pos x="89" y="104"/>
                  </a:cxn>
                  <a:cxn ang="0">
                    <a:pos x="81" y="125"/>
                  </a:cxn>
                  <a:cxn ang="0">
                    <a:pos x="68" y="121"/>
                  </a:cxn>
                  <a:cxn ang="0">
                    <a:pos x="55" y="126"/>
                  </a:cxn>
                  <a:cxn ang="0">
                    <a:pos x="50" y="123"/>
                  </a:cxn>
                  <a:cxn ang="0">
                    <a:pos x="39" y="112"/>
                  </a:cxn>
                  <a:cxn ang="0">
                    <a:pos x="16" y="153"/>
                  </a:cxn>
                  <a:cxn ang="0">
                    <a:pos x="3" y="155"/>
                  </a:cxn>
                  <a:cxn ang="0">
                    <a:pos x="7" y="121"/>
                  </a:cxn>
                  <a:cxn ang="0">
                    <a:pos x="22" y="93"/>
                  </a:cxn>
                  <a:cxn ang="0">
                    <a:pos x="56" y="76"/>
                  </a:cxn>
                  <a:cxn ang="0">
                    <a:pos x="73" y="64"/>
                  </a:cxn>
                  <a:cxn ang="0">
                    <a:pos x="99" y="64"/>
                  </a:cxn>
                  <a:cxn ang="0">
                    <a:pos x="98" y="94"/>
                  </a:cxn>
                  <a:cxn ang="0">
                    <a:pos x="127" y="69"/>
                  </a:cxn>
                  <a:cxn ang="0">
                    <a:pos x="146" y="66"/>
                  </a:cxn>
                  <a:cxn ang="0">
                    <a:pos x="153" y="49"/>
                  </a:cxn>
                  <a:cxn ang="0">
                    <a:pos x="169" y="46"/>
                  </a:cxn>
                  <a:cxn ang="0">
                    <a:pos x="189" y="43"/>
                  </a:cxn>
                  <a:cxn ang="0">
                    <a:pos x="194" y="26"/>
                  </a:cxn>
                  <a:cxn ang="0">
                    <a:pos x="191" y="1"/>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791" name="Freeform 81"/>
            <p:cNvSpPr>
              <a:spLocks noChangeAspect="1"/>
            </p:cNvSpPr>
            <p:nvPr/>
          </p:nvSpPr>
          <p:spPr bwMode="gray">
            <a:xfrm>
              <a:off x="6744489" y="3603970"/>
              <a:ext cx="23813" cy="19050"/>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92" name="Freeform 82"/>
            <p:cNvSpPr>
              <a:spLocks noChangeAspect="1"/>
            </p:cNvSpPr>
            <p:nvPr/>
          </p:nvSpPr>
          <p:spPr bwMode="gray">
            <a:xfrm>
              <a:off x="6781001" y="3748432"/>
              <a:ext cx="4763" cy="14288"/>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93" name="Freeform 83"/>
            <p:cNvSpPr>
              <a:spLocks noChangeAspect="1"/>
            </p:cNvSpPr>
            <p:nvPr/>
          </p:nvSpPr>
          <p:spPr bwMode="gray">
            <a:xfrm>
              <a:off x="6931814" y="3837332"/>
              <a:ext cx="42863" cy="19050"/>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solidFill>
              <a:schemeClr val="bg1">
                <a:lumMod val="85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94" name="Freeform 84"/>
            <p:cNvSpPr>
              <a:spLocks noChangeAspect="1"/>
            </p:cNvSpPr>
            <p:nvPr/>
          </p:nvSpPr>
          <p:spPr bwMode="gray">
            <a:xfrm>
              <a:off x="6911176" y="3850032"/>
              <a:ext cx="26988" cy="22225"/>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solidFill>
              <a:schemeClr val="bg1">
                <a:lumMod val="85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95" name="Freeform 85"/>
            <p:cNvSpPr>
              <a:spLocks noChangeAspect="1"/>
            </p:cNvSpPr>
            <p:nvPr/>
          </p:nvSpPr>
          <p:spPr bwMode="gray">
            <a:xfrm>
              <a:off x="6987376" y="3740495"/>
              <a:ext cx="50800" cy="19050"/>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solidFill>
              <a:schemeClr val="bg1">
                <a:lumMod val="85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96" name="Freeform 86"/>
            <p:cNvSpPr>
              <a:spLocks noChangeAspect="1"/>
            </p:cNvSpPr>
            <p:nvPr/>
          </p:nvSpPr>
          <p:spPr bwMode="gray">
            <a:xfrm>
              <a:off x="6830214" y="3662707"/>
              <a:ext cx="109538" cy="128588"/>
            </a:xfrm>
            <a:custGeom>
              <a:avLst/>
              <a:gdLst/>
              <a:ahLst/>
              <a:cxnLst>
                <a:cxn ang="0">
                  <a:pos x="141" y="30"/>
                </a:cxn>
                <a:cxn ang="0">
                  <a:pos x="163" y="33"/>
                </a:cxn>
                <a:cxn ang="0">
                  <a:pos x="184" y="36"/>
                </a:cxn>
                <a:cxn ang="0">
                  <a:pos x="205" y="43"/>
                </a:cxn>
                <a:cxn ang="0">
                  <a:pos x="229" y="42"/>
                </a:cxn>
                <a:cxn ang="0">
                  <a:pos x="288" y="42"/>
                </a:cxn>
                <a:cxn ang="0">
                  <a:pos x="325" y="6"/>
                </a:cxn>
                <a:cxn ang="0">
                  <a:pos x="344" y="4"/>
                </a:cxn>
                <a:cxn ang="0">
                  <a:pos x="339" y="30"/>
                </a:cxn>
                <a:cxn ang="0">
                  <a:pos x="303" y="69"/>
                </a:cxn>
                <a:cxn ang="0">
                  <a:pos x="268" y="78"/>
                </a:cxn>
                <a:cxn ang="0">
                  <a:pos x="218" y="68"/>
                </a:cxn>
                <a:cxn ang="0">
                  <a:pos x="164" y="72"/>
                </a:cxn>
                <a:cxn ang="0">
                  <a:pos x="145" y="69"/>
                </a:cxn>
                <a:cxn ang="0">
                  <a:pos x="121" y="72"/>
                </a:cxn>
                <a:cxn ang="0">
                  <a:pos x="87" y="69"/>
                </a:cxn>
                <a:cxn ang="0">
                  <a:pos x="67" y="107"/>
                </a:cxn>
                <a:cxn ang="0">
                  <a:pos x="86" y="148"/>
                </a:cxn>
                <a:cxn ang="0">
                  <a:pos x="124" y="164"/>
                </a:cxn>
                <a:cxn ang="0">
                  <a:pos x="151" y="143"/>
                </a:cxn>
                <a:cxn ang="0">
                  <a:pos x="172" y="148"/>
                </a:cxn>
                <a:cxn ang="0">
                  <a:pos x="215" y="138"/>
                </a:cxn>
                <a:cxn ang="0">
                  <a:pos x="244" y="124"/>
                </a:cxn>
                <a:cxn ang="0">
                  <a:pos x="243" y="150"/>
                </a:cxn>
                <a:cxn ang="0">
                  <a:pos x="198" y="172"/>
                </a:cxn>
                <a:cxn ang="0">
                  <a:pos x="166" y="189"/>
                </a:cxn>
                <a:cxn ang="0">
                  <a:pos x="137" y="193"/>
                </a:cxn>
                <a:cxn ang="0">
                  <a:pos x="180" y="251"/>
                </a:cxn>
                <a:cxn ang="0">
                  <a:pos x="196" y="271"/>
                </a:cxn>
                <a:cxn ang="0">
                  <a:pos x="184" y="286"/>
                </a:cxn>
                <a:cxn ang="0">
                  <a:pos x="202" y="309"/>
                </a:cxn>
                <a:cxn ang="0">
                  <a:pos x="216" y="320"/>
                </a:cxn>
                <a:cxn ang="0">
                  <a:pos x="211" y="337"/>
                </a:cxn>
                <a:cxn ang="0">
                  <a:pos x="175" y="354"/>
                </a:cxn>
                <a:cxn ang="0">
                  <a:pos x="146" y="348"/>
                </a:cxn>
                <a:cxn ang="0">
                  <a:pos x="143" y="314"/>
                </a:cxn>
                <a:cxn ang="0">
                  <a:pos x="113" y="280"/>
                </a:cxn>
                <a:cxn ang="0">
                  <a:pos x="119" y="245"/>
                </a:cxn>
                <a:cxn ang="0">
                  <a:pos x="92" y="245"/>
                </a:cxn>
                <a:cxn ang="0">
                  <a:pos x="83" y="280"/>
                </a:cxn>
                <a:cxn ang="0">
                  <a:pos x="86" y="354"/>
                </a:cxn>
                <a:cxn ang="0">
                  <a:pos x="85" y="397"/>
                </a:cxn>
                <a:cxn ang="0">
                  <a:pos x="55" y="404"/>
                </a:cxn>
                <a:cxn ang="0">
                  <a:pos x="27" y="384"/>
                </a:cxn>
                <a:cxn ang="0">
                  <a:pos x="43" y="316"/>
                </a:cxn>
                <a:cxn ang="0">
                  <a:pos x="22" y="284"/>
                </a:cxn>
                <a:cxn ang="0">
                  <a:pos x="0" y="259"/>
                </a:cxn>
                <a:cxn ang="0">
                  <a:pos x="18" y="210"/>
                </a:cxn>
                <a:cxn ang="0">
                  <a:pos x="37" y="144"/>
                </a:cxn>
                <a:cxn ang="0">
                  <a:pos x="51" y="138"/>
                </a:cxn>
                <a:cxn ang="0">
                  <a:pos x="45" y="97"/>
                </a:cxn>
                <a:cxn ang="0">
                  <a:pos x="55" y="80"/>
                </a:cxn>
                <a:cxn ang="0">
                  <a:pos x="73" y="46"/>
                </a:cxn>
                <a:cxn ang="0">
                  <a:pos x="93" y="51"/>
                </a:cxn>
                <a:cxn ang="0">
                  <a:pos x="110" y="24"/>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solidFill>
              <a:schemeClr val="bg1">
                <a:lumMod val="85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97" name="Freeform 87"/>
            <p:cNvSpPr>
              <a:spLocks noChangeAspect="1"/>
            </p:cNvSpPr>
            <p:nvPr/>
          </p:nvSpPr>
          <p:spPr bwMode="gray">
            <a:xfrm>
              <a:off x="6977851" y="3653182"/>
              <a:ext cx="25400" cy="53975"/>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98" name="Freeform 88"/>
            <p:cNvSpPr>
              <a:spLocks noChangeAspect="1"/>
            </p:cNvSpPr>
            <p:nvPr/>
          </p:nvSpPr>
          <p:spPr bwMode="gray">
            <a:xfrm>
              <a:off x="7039763" y="3699220"/>
              <a:ext cx="180975" cy="152400"/>
            </a:xfrm>
            <a:custGeom>
              <a:avLst/>
              <a:gdLst/>
              <a:ahLst/>
              <a:cxnLst>
                <a:cxn ang="0">
                  <a:pos x="549" y="469"/>
                </a:cxn>
                <a:cxn ang="0">
                  <a:pos x="503" y="428"/>
                </a:cxn>
                <a:cxn ang="0">
                  <a:pos x="474" y="427"/>
                </a:cxn>
                <a:cxn ang="0">
                  <a:pos x="441" y="433"/>
                </a:cxn>
                <a:cxn ang="0">
                  <a:pos x="426" y="433"/>
                </a:cxn>
                <a:cxn ang="0">
                  <a:pos x="378" y="431"/>
                </a:cxn>
                <a:cxn ang="0">
                  <a:pos x="419" y="383"/>
                </a:cxn>
                <a:cxn ang="0">
                  <a:pos x="444" y="385"/>
                </a:cxn>
                <a:cxn ang="0">
                  <a:pos x="431" y="368"/>
                </a:cxn>
                <a:cxn ang="0">
                  <a:pos x="421" y="335"/>
                </a:cxn>
                <a:cxn ang="0">
                  <a:pos x="406" y="293"/>
                </a:cxn>
                <a:cxn ang="0">
                  <a:pos x="378" y="269"/>
                </a:cxn>
                <a:cxn ang="0">
                  <a:pos x="342" y="250"/>
                </a:cxn>
                <a:cxn ang="0">
                  <a:pos x="290" y="235"/>
                </a:cxn>
                <a:cxn ang="0">
                  <a:pos x="229" y="223"/>
                </a:cxn>
                <a:cxn ang="0">
                  <a:pos x="210" y="206"/>
                </a:cxn>
                <a:cxn ang="0">
                  <a:pos x="188" y="203"/>
                </a:cxn>
                <a:cxn ang="0">
                  <a:pos x="168" y="183"/>
                </a:cxn>
                <a:cxn ang="0">
                  <a:pos x="161" y="149"/>
                </a:cxn>
                <a:cxn ang="0">
                  <a:pos x="152" y="167"/>
                </a:cxn>
                <a:cxn ang="0">
                  <a:pos x="132" y="203"/>
                </a:cxn>
                <a:cxn ang="0">
                  <a:pos x="105" y="190"/>
                </a:cxn>
                <a:cxn ang="0">
                  <a:pos x="95" y="163"/>
                </a:cxn>
                <a:cxn ang="0">
                  <a:pos x="56" y="141"/>
                </a:cxn>
                <a:cxn ang="0">
                  <a:pos x="95" y="130"/>
                </a:cxn>
                <a:cxn ang="0">
                  <a:pos x="147" y="120"/>
                </a:cxn>
                <a:cxn ang="0">
                  <a:pos x="162" y="93"/>
                </a:cxn>
                <a:cxn ang="0">
                  <a:pos x="94" y="106"/>
                </a:cxn>
                <a:cxn ang="0">
                  <a:pos x="55" y="83"/>
                </a:cxn>
                <a:cxn ang="0">
                  <a:pos x="27" y="63"/>
                </a:cxn>
                <a:cxn ang="0">
                  <a:pos x="2" y="51"/>
                </a:cxn>
                <a:cxn ang="0">
                  <a:pos x="29" y="23"/>
                </a:cxn>
                <a:cxn ang="0">
                  <a:pos x="78" y="0"/>
                </a:cxn>
                <a:cxn ang="0">
                  <a:pos x="126" y="18"/>
                </a:cxn>
                <a:cxn ang="0">
                  <a:pos x="178" y="49"/>
                </a:cxn>
                <a:cxn ang="0">
                  <a:pos x="179" y="114"/>
                </a:cxn>
                <a:cxn ang="0">
                  <a:pos x="205" y="122"/>
                </a:cxn>
                <a:cxn ang="0">
                  <a:pos x="234" y="164"/>
                </a:cxn>
                <a:cxn ang="0">
                  <a:pos x="269" y="148"/>
                </a:cxn>
                <a:cxn ang="0">
                  <a:pos x="302" y="103"/>
                </a:cxn>
                <a:cxn ang="0">
                  <a:pos x="345" y="90"/>
                </a:cxn>
                <a:cxn ang="0">
                  <a:pos x="380" y="57"/>
                </a:cxn>
                <a:cxn ang="0">
                  <a:pos x="421" y="77"/>
                </a:cxn>
                <a:cxn ang="0">
                  <a:pos x="471" y="100"/>
                </a:cxn>
                <a:cxn ang="0">
                  <a:pos x="506" y="104"/>
                </a:cxn>
                <a:cxn ang="0">
                  <a:pos x="534" y="114"/>
                </a:cxn>
                <a:cxn ang="0">
                  <a:pos x="543" y="121"/>
                </a:cxn>
                <a:cxn ang="0">
                  <a:pos x="555" y="129"/>
                </a:cxn>
                <a:cxn ang="0">
                  <a:pos x="555" y="351"/>
                </a:cxn>
                <a:cxn ang="0">
                  <a:pos x="568" y="480"/>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solidFill>
              <a:schemeClr val="bg1">
                <a:lumMod val="85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799" name="Freeform 89"/>
            <p:cNvSpPr>
              <a:spLocks noChangeAspect="1"/>
            </p:cNvSpPr>
            <p:nvPr/>
          </p:nvSpPr>
          <p:spPr bwMode="gray">
            <a:xfrm>
              <a:off x="7387426" y="3737321"/>
              <a:ext cx="41275" cy="38100"/>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00" name="Freeform 90"/>
            <p:cNvSpPr>
              <a:spLocks noChangeAspect="1"/>
            </p:cNvSpPr>
            <p:nvPr/>
          </p:nvSpPr>
          <p:spPr bwMode="gray">
            <a:xfrm>
              <a:off x="6538114" y="3280121"/>
              <a:ext cx="125413" cy="263525"/>
            </a:xfrm>
            <a:custGeom>
              <a:avLst/>
              <a:gdLst/>
              <a:ahLst/>
              <a:cxnLst>
                <a:cxn ang="0">
                  <a:pos x="237" y="758"/>
                </a:cxn>
                <a:cxn ang="0">
                  <a:pos x="250" y="749"/>
                </a:cxn>
                <a:cxn ang="0">
                  <a:pos x="270" y="727"/>
                </a:cxn>
                <a:cxn ang="0">
                  <a:pos x="321" y="713"/>
                </a:cxn>
                <a:cxn ang="0">
                  <a:pos x="376" y="679"/>
                </a:cxn>
                <a:cxn ang="0">
                  <a:pos x="387" y="654"/>
                </a:cxn>
                <a:cxn ang="0">
                  <a:pos x="388" y="643"/>
                </a:cxn>
                <a:cxn ang="0">
                  <a:pos x="388" y="607"/>
                </a:cxn>
                <a:cxn ang="0">
                  <a:pos x="395" y="596"/>
                </a:cxn>
                <a:cxn ang="0">
                  <a:pos x="389" y="557"/>
                </a:cxn>
                <a:cxn ang="0">
                  <a:pos x="382" y="507"/>
                </a:cxn>
                <a:cxn ang="0">
                  <a:pos x="336" y="409"/>
                </a:cxn>
                <a:cxn ang="0">
                  <a:pos x="323" y="401"/>
                </a:cxn>
                <a:cxn ang="0">
                  <a:pos x="281" y="372"/>
                </a:cxn>
                <a:cxn ang="0">
                  <a:pos x="255" y="344"/>
                </a:cxn>
                <a:cxn ang="0">
                  <a:pos x="228" y="297"/>
                </a:cxn>
                <a:cxn ang="0">
                  <a:pos x="194" y="245"/>
                </a:cxn>
                <a:cxn ang="0">
                  <a:pos x="239" y="171"/>
                </a:cxn>
                <a:cxn ang="0">
                  <a:pos x="258" y="140"/>
                </a:cxn>
                <a:cxn ang="0">
                  <a:pos x="307" y="105"/>
                </a:cxn>
                <a:cxn ang="0">
                  <a:pos x="312" y="97"/>
                </a:cxn>
                <a:cxn ang="0">
                  <a:pos x="255" y="77"/>
                </a:cxn>
                <a:cxn ang="0">
                  <a:pos x="244" y="26"/>
                </a:cxn>
                <a:cxn ang="0">
                  <a:pos x="184" y="5"/>
                </a:cxn>
                <a:cxn ang="0">
                  <a:pos x="142" y="19"/>
                </a:cxn>
                <a:cxn ang="0">
                  <a:pos x="104" y="33"/>
                </a:cxn>
                <a:cxn ang="0">
                  <a:pos x="71" y="31"/>
                </a:cxn>
                <a:cxn ang="0">
                  <a:pos x="36" y="33"/>
                </a:cxn>
                <a:cxn ang="0">
                  <a:pos x="13" y="37"/>
                </a:cxn>
                <a:cxn ang="0">
                  <a:pos x="12" y="60"/>
                </a:cxn>
                <a:cxn ang="0">
                  <a:pos x="41" y="112"/>
                </a:cxn>
                <a:cxn ang="0">
                  <a:pos x="97" y="134"/>
                </a:cxn>
                <a:cxn ang="0">
                  <a:pos x="129" y="162"/>
                </a:cxn>
                <a:cxn ang="0">
                  <a:pos x="146" y="192"/>
                </a:cxn>
                <a:cxn ang="0">
                  <a:pos x="107" y="208"/>
                </a:cxn>
                <a:cxn ang="0">
                  <a:pos x="107" y="231"/>
                </a:cxn>
                <a:cxn ang="0">
                  <a:pos x="165" y="280"/>
                </a:cxn>
                <a:cxn ang="0">
                  <a:pos x="213" y="332"/>
                </a:cxn>
                <a:cxn ang="0">
                  <a:pos x="238" y="371"/>
                </a:cxn>
                <a:cxn ang="0">
                  <a:pos x="265" y="396"/>
                </a:cxn>
                <a:cxn ang="0">
                  <a:pos x="292" y="457"/>
                </a:cxn>
                <a:cxn ang="0">
                  <a:pos x="299" y="558"/>
                </a:cxn>
                <a:cxn ang="0">
                  <a:pos x="281" y="625"/>
                </a:cxn>
                <a:cxn ang="0">
                  <a:pos x="238" y="646"/>
                </a:cxn>
                <a:cxn ang="0">
                  <a:pos x="206" y="674"/>
                </a:cxn>
                <a:cxn ang="0">
                  <a:pos x="194" y="697"/>
                </a:cxn>
                <a:cxn ang="0">
                  <a:pos x="158" y="705"/>
                </a:cxn>
                <a:cxn ang="0">
                  <a:pos x="134" y="726"/>
                </a:cxn>
                <a:cxn ang="0">
                  <a:pos x="161" y="752"/>
                </a:cxn>
                <a:cxn ang="0">
                  <a:pos x="148" y="797"/>
                </a:cxn>
                <a:cxn ang="0">
                  <a:pos x="153" y="832"/>
                </a:cxn>
                <a:cxn ang="0">
                  <a:pos x="195" y="797"/>
                </a:cxn>
                <a:cxn ang="0">
                  <a:pos x="228" y="773"/>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grp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801" name="Freeform 91"/>
            <p:cNvSpPr>
              <a:spLocks noChangeAspect="1"/>
            </p:cNvSpPr>
            <p:nvPr/>
          </p:nvSpPr>
          <p:spPr bwMode="gray">
            <a:xfrm>
              <a:off x="6668289" y="3572220"/>
              <a:ext cx="168275" cy="104775"/>
            </a:xfrm>
            <a:custGeom>
              <a:avLst/>
              <a:gdLst/>
              <a:ahLst/>
              <a:cxnLst>
                <a:cxn ang="0">
                  <a:pos x="249" y="133"/>
                </a:cxn>
                <a:cxn ang="0">
                  <a:pos x="268" y="155"/>
                </a:cxn>
                <a:cxn ang="0">
                  <a:pos x="281" y="158"/>
                </a:cxn>
                <a:cxn ang="0">
                  <a:pos x="288" y="121"/>
                </a:cxn>
                <a:cxn ang="0">
                  <a:pos x="301" y="122"/>
                </a:cxn>
                <a:cxn ang="0">
                  <a:pos x="312" y="139"/>
                </a:cxn>
                <a:cxn ang="0">
                  <a:pos x="319" y="128"/>
                </a:cxn>
                <a:cxn ang="0">
                  <a:pos x="309" y="111"/>
                </a:cxn>
                <a:cxn ang="0">
                  <a:pos x="328" y="96"/>
                </a:cxn>
                <a:cxn ang="0">
                  <a:pos x="324" y="81"/>
                </a:cxn>
                <a:cxn ang="0">
                  <a:pos x="351" y="64"/>
                </a:cxn>
                <a:cxn ang="0">
                  <a:pos x="383" y="20"/>
                </a:cxn>
                <a:cxn ang="0">
                  <a:pos x="392" y="0"/>
                </a:cxn>
                <a:cxn ang="0">
                  <a:pos x="395" y="14"/>
                </a:cxn>
                <a:cxn ang="0">
                  <a:pos x="404" y="9"/>
                </a:cxn>
                <a:cxn ang="0">
                  <a:pos x="417" y="4"/>
                </a:cxn>
                <a:cxn ang="0">
                  <a:pos x="433" y="20"/>
                </a:cxn>
                <a:cxn ang="0">
                  <a:pos x="442" y="43"/>
                </a:cxn>
                <a:cxn ang="0">
                  <a:pos x="448" y="57"/>
                </a:cxn>
                <a:cxn ang="0">
                  <a:pos x="463" y="54"/>
                </a:cxn>
                <a:cxn ang="0">
                  <a:pos x="462" y="68"/>
                </a:cxn>
                <a:cxn ang="0">
                  <a:pos x="474" y="65"/>
                </a:cxn>
                <a:cxn ang="0">
                  <a:pos x="502" y="80"/>
                </a:cxn>
                <a:cxn ang="0">
                  <a:pos x="530" y="95"/>
                </a:cxn>
                <a:cxn ang="0">
                  <a:pos x="512" y="108"/>
                </a:cxn>
                <a:cxn ang="0">
                  <a:pos x="482" y="110"/>
                </a:cxn>
                <a:cxn ang="0">
                  <a:pos x="476" y="126"/>
                </a:cxn>
                <a:cxn ang="0">
                  <a:pos x="492" y="137"/>
                </a:cxn>
                <a:cxn ang="0">
                  <a:pos x="463" y="149"/>
                </a:cxn>
                <a:cxn ang="0">
                  <a:pos x="446" y="143"/>
                </a:cxn>
                <a:cxn ang="0">
                  <a:pos x="439" y="151"/>
                </a:cxn>
                <a:cxn ang="0">
                  <a:pos x="412" y="142"/>
                </a:cxn>
                <a:cxn ang="0">
                  <a:pos x="336" y="150"/>
                </a:cxn>
                <a:cxn ang="0">
                  <a:pos x="323" y="201"/>
                </a:cxn>
                <a:cxn ang="0">
                  <a:pos x="282" y="275"/>
                </a:cxn>
                <a:cxn ang="0">
                  <a:pos x="265" y="299"/>
                </a:cxn>
                <a:cxn ang="0">
                  <a:pos x="231" y="307"/>
                </a:cxn>
                <a:cxn ang="0">
                  <a:pos x="189" y="306"/>
                </a:cxn>
                <a:cxn ang="0">
                  <a:pos x="178" y="296"/>
                </a:cxn>
                <a:cxn ang="0">
                  <a:pos x="139" y="305"/>
                </a:cxn>
                <a:cxn ang="0">
                  <a:pos x="105" y="326"/>
                </a:cxn>
                <a:cxn ang="0">
                  <a:pos x="77" y="323"/>
                </a:cxn>
                <a:cxn ang="0">
                  <a:pos x="40" y="325"/>
                </a:cxn>
                <a:cxn ang="0">
                  <a:pos x="0" y="269"/>
                </a:cxn>
                <a:cxn ang="0">
                  <a:pos x="7" y="264"/>
                </a:cxn>
                <a:cxn ang="0">
                  <a:pos x="28" y="283"/>
                </a:cxn>
                <a:cxn ang="0">
                  <a:pos x="53" y="284"/>
                </a:cxn>
                <a:cxn ang="0">
                  <a:pos x="84" y="293"/>
                </a:cxn>
                <a:cxn ang="0">
                  <a:pos x="91" y="269"/>
                </a:cxn>
                <a:cxn ang="0">
                  <a:pos x="96" y="250"/>
                </a:cxn>
                <a:cxn ang="0">
                  <a:pos x="103" y="239"/>
                </a:cxn>
                <a:cxn ang="0">
                  <a:pos x="116" y="221"/>
                </a:cxn>
                <a:cxn ang="0">
                  <a:pos x="137" y="218"/>
                </a:cxn>
                <a:cxn ang="0">
                  <a:pos x="161" y="215"/>
                </a:cxn>
                <a:cxn ang="0">
                  <a:pos x="190" y="201"/>
                </a:cxn>
                <a:cxn ang="0">
                  <a:pos x="215" y="167"/>
                </a:cxn>
                <a:cxn ang="0">
                  <a:pos x="240" y="131"/>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02" name="Freeform 92"/>
            <p:cNvSpPr>
              <a:spLocks noChangeAspect="1"/>
            </p:cNvSpPr>
            <p:nvPr/>
          </p:nvSpPr>
          <p:spPr bwMode="gray">
            <a:xfrm>
              <a:off x="6504776" y="3575395"/>
              <a:ext cx="71438" cy="93663"/>
            </a:xfrm>
            <a:custGeom>
              <a:avLst/>
              <a:gdLst/>
              <a:ahLst/>
              <a:cxnLst>
                <a:cxn ang="0">
                  <a:pos x="5" y="16"/>
                </a:cxn>
                <a:cxn ang="0">
                  <a:pos x="2" y="16"/>
                </a:cxn>
                <a:cxn ang="0">
                  <a:pos x="7" y="24"/>
                </a:cxn>
                <a:cxn ang="0">
                  <a:pos x="10" y="43"/>
                </a:cxn>
                <a:cxn ang="0">
                  <a:pos x="14" y="55"/>
                </a:cxn>
                <a:cxn ang="0">
                  <a:pos x="15" y="87"/>
                </a:cxn>
                <a:cxn ang="0">
                  <a:pos x="18" y="98"/>
                </a:cxn>
                <a:cxn ang="0">
                  <a:pos x="26" y="104"/>
                </a:cxn>
                <a:cxn ang="0">
                  <a:pos x="27" y="115"/>
                </a:cxn>
                <a:cxn ang="0">
                  <a:pos x="26" y="130"/>
                </a:cxn>
                <a:cxn ang="0">
                  <a:pos x="32" y="141"/>
                </a:cxn>
                <a:cxn ang="0">
                  <a:pos x="33" y="148"/>
                </a:cxn>
                <a:cxn ang="0">
                  <a:pos x="52" y="173"/>
                </a:cxn>
                <a:cxn ang="0">
                  <a:pos x="60" y="183"/>
                </a:cxn>
                <a:cxn ang="0">
                  <a:pos x="66" y="196"/>
                </a:cxn>
                <a:cxn ang="0">
                  <a:pos x="68" y="208"/>
                </a:cxn>
                <a:cxn ang="0">
                  <a:pos x="77" y="218"/>
                </a:cxn>
                <a:cxn ang="0">
                  <a:pos x="93" y="229"/>
                </a:cxn>
                <a:cxn ang="0">
                  <a:pos x="114" y="248"/>
                </a:cxn>
                <a:cxn ang="0">
                  <a:pos x="129" y="253"/>
                </a:cxn>
                <a:cxn ang="0">
                  <a:pos x="144" y="265"/>
                </a:cxn>
                <a:cxn ang="0">
                  <a:pos x="152" y="269"/>
                </a:cxn>
                <a:cxn ang="0">
                  <a:pos x="166" y="276"/>
                </a:cxn>
                <a:cxn ang="0">
                  <a:pos x="178" y="287"/>
                </a:cxn>
                <a:cxn ang="0">
                  <a:pos x="182" y="285"/>
                </a:cxn>
                <a:cxn ang="0">
                  <a:pos x="185" y="291"/>
                </a:cxn>
                <a:cxn ang="0">
                  <a:pos x="189" y="287"/>
                </a:cxn>
                <a:cxn ang="0">
                  <a:pos x="192" y="281"/>
                </a:cxn>
                <a:cxn ang="0">
                  <a:pos x="198" y="277"/>
                </a:cxn>
                <a:cxn ang="0">
                  <a:pos x="211" y="280"/>
                </a:cxn>
                <a:cxn ang="0">
                  <a:pos x="220" y="288"/>
                </a:cxn>
                <a:cxn ang="0">
                  <a:pos x="224" y="281"/>
                </a:cxn>
                <a:cxn ang="0">
                  <a:pos x="226" y="265"/>
                </a:cxn>
                <a:cxn ang="0">
                  <a:pos x="210" y="237"/>
                </a:cxn>
                <a:cxn ang="0">
                  <a:pos x="205" y="222"/>
                </a:cxn>
                <a:cxn ang="0">
                  <a:pos x="188" y="210"/>
                </a:cxn>
                <a:cxn ang="0">
                  <a:pos x="182" y="191"/>
                </a:cxn>
                <a:cxn ang="0">
                  <a:pos x="179" y="151"/>
                </a:cxn>
                <a:cxn ang="0">
                  <a:pos x="183" y="126"/>
                </a:cxn>
                <a:cxn ang="0">
                  <a:pos x="183" y="108"/>
                </a:cxn>
                <a:cxn ang="0">
                  <a:pos x="181" y="95"/>
                </a:cxn>
                <a:cxn ang="0">
                  <a:pos x="174" y="83"/>
                </a:cxn>
                <a:cxn ang="0">
                  <a:pos x="158" y="60"/>
                </a:cxn>
                <a:cxn ang="0">
                  <a:pos x="136" y="44"/>
                </a:cxn>
                <a:cxn ang="0">
                  <a:pos x="123" y="28"/>
                </a:cxn>
                <a:cxn ang="0">
                  <a:pos x="111" y="29"/>
                </a:cxn>
                <a:cxn ang="0">
                  <a:pos x="103" y="41"/>
                </a:cxn>
                <a:cxn ang="0">
                  <a:pos x="92" y="43"/>
                </a:cxn>
                <a:cxn ang="0">
                  <a:pos x="81" y="41"/>
                </a:cxn>
                <a:cxn ang="0">
                  <a:pos x="58" y="56"/>
                </a:cxn>
                <a:cxn ang="0">
                  <a:pos x="54" y="45"/>
                </a:cxn>
                <a:cxn ang="0">
                  <a:pos x="57" y="29"/>
                </a:cxn>
                <a:cxn ang="0">
                  <a:pos x="47" y="14"/>
                </a:cxn>
                <a:cxn ang="0">
                  <a:pos x="37" y="12"/>
                </a:cxn>
                <a:cxn ang="0">
                  <a:pos x="20" y="9"/>
                </a:cxn>
                <a:cxn ang="0">
                  <a:pos x="12" y="0"/>
                </a:cxn>
                <a:cxn ang="0">
                  <a:pos x="0" y="0"/>
                </a:cxn>
                <a:cxn ang="0">
                  <a:pos x="5" y="16"/>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03" name="Freeform 93"/>
            <p:cNvSpPr>
              <a:spLocks noChangeAspect="1"/>
            </p:cNvSpPr>
            <p:nvPr/>
          </p:nvSpPr>
          <p:spPr bwMode="gray">
            <a:xfrm>
              <a:off x="6460327" y="3326157"/>
              <a:ext cx="136525" cy="268288"/>
            </a:xfrm>
            <a:custGeom>
              <a:avLst/>
              <a:gdLst/>
              <a:ahLst/>
              <a:cxnLst>
                <a:cxn ang="0">
                  <a:pos x="125" y="24"/>
                </a:cxn>
                <a:cxn ang="0">
                  <a:pos x="77" y="49"/>
                </a:cxn>
                <a:cxn ang="0">
                  <a:pos x="23" y="67"/>
                </a:cxn>
                <a:cxn ang="0">
                  <a:pos x="0" y="135"/>
                </a:cxn>
                <a:cxn ang="0">
                  <a:pos x="40" y="199"/>
                </a:cxn>
                <a:cxn ang="0">
                  <a:pos x="52" y="252"/>
                </a:cxn>
                <a:cxn ang="0">
                  <a:pos x="53" y="283"/>
                </a:cxn>
                <a:cxn ang="0">
                  <a:pos x="38" y="315"/>
                </a:cxn>
                <a:cxn ang="0">
                  <a:pos x="58" y="366"/>
                </a:cxn>
                <a:cxn ang="0">
                  <a:pos x="82" y="434"/>
                </a:cxn>
                <a:cxn ang="0">
                  <a:pos x="111" y="503"/>
                </a:cxn>
                <a:cxn ang="0">
                  <a:pos x="72" y="559"/>
                </a:cxn>
                <a:cxn ang="0">
                  <a:pos x="59" y="597"/>
                </a:cxn>
                <a:cxn ang="0">
                  <a:pos x="37" y="681"/>
                </a:cxn>
                <a:cxn ang="0">
                  <a:pos x="80" y="725"/>
                </a:cxn>
                <a:cxn ang="0">
                  <a:pos x="118" y="774"/>
                </a:cxn>
                <a:cxn ang="0">
                  <a:pos x="160" y="797"/>
                </a:cxn>
                <a:cxn ang="0">
                  <a:pos x="194" y="833"/>
                </a:cxn>
                <a:cxn ang="0">
                  <a:pos x="243" y="829"/>
                </a:cxn>
                <a:cxn ang="0">
                  <a:pos x="215" y="778"/>
                </a:cxn>
                <a:cxn ang="0">
                  <a:pos x="157" y="745"/>
                </a:cxn>
                <a:cxn ang="0">
                  <a:pos x="131" y="676"/>
                </a:cxn>
                <a:cxn ang="0">
                  <a:pos x="102" y="651"/>
                </a:cxn>
                <a:cxn ang="0">
                  <a:pos x="85" y="607"/>
                </a:cxn>
                <a:cxn ang="0">
                  <a:pos x="93" y="568"/>
                </a:cxn>
                <a:cxn ang="0">
                  <a:pos x="112" y="515"/>
                </a:cxn>
                <a:cxn ang="0">
                  <a:pos x="133" y="439"/>
                </a:cxn>
                <a:cxn ang="0">
                  <a:pos x="161" y="409"/>
                </a:cxn>
                <a:cxn ang="0">
                  <a:pos x="179" y="455"/>
                </a:cxn>
                <a:cxn ang="0">
                  <a:pos x="189" y="458"/>
                </a:cxn>
                <a:cxn ang="0">
                  <a:pos x="251" y="476"/>
                </a:cxn>
                <a:cxn ang="0">
                  <a:pos x="271" y="489"/>
                </a:cxn>
                <a:cxn ang="0">
                  <a:pos x="292" y="510"/>
                </a:cxn>
                <a:cxn ang="0">
                  <a:pos x="265" y="462"/>
                </a:cxn>
                <a:cxn ang="0">
                  <a:pos x="265" y="407"/>
                </a:cxn>
                <a:cxn ang="0">
                  <a:pos x="298" y="366"/>
                </a:cxn>
                <a:cxn ang="0">
                  <a:pos x="368" y="365"/>
                </a:cxn>
                <a:cxn ang="0">
                  <a:pos x="416" y="365"/>
                </a:cxn>
                <a:cxn ang="0">
                  <a:pos x="431" y="302"/>
                </a:cxn>
                <a:cxn ang="0">
                  <a:pos x="416" y="275"/>
                </a:cxn>
                <a:cxn ang="0">
                  <a:pos x="389" y="252"/>
                </a:cxn>
                <a:cxn ang="0">
                  <a:pos x="382" y="191"/>
                </a:cxn>
                <a:cxn ang="0">
                  <a:pos x="360" y="165"/>
                </a:cxn>
                <a:cxn ang="0">
                  <a:pos x="323" y="134"/>
                </a:cxn>
                <a:cxn ang="0">
                  <a:pos x="292" y="153"/>
                </a:cxn>
                <a:cxn ang="0">
                  <a:pos x="255" y="156"/>
                </a:cxn>
                <a:cxn ang="0">
                  <a:pos x="220" y="151"/>
                </a:cxn>
                <a:cxn ang="0">
                  <a:pos x="183" y="182"/>
                </a:cxn>
                <a:cxn ang="0">
                  <a:pos x="188" y="126"/>
                </a:cxn>
                <a:cxn ang="0">
                  <a:pos x="190" y="81"/>
                </a:cxn>
                <a:cxn ang="0">
                  <a:pos x="163" y="59"/>
                </a:cxn>
                <a:cxn ang="0">
                  <a:pos x="152" y="16"/>
                </a:cxn>
                <a:cxn ang="0">
                  <a:pos x="141" y="0"/>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04" name="Freeform 94"/>
            <p:cNvSpPr>
              <a:spLocks noChangeAspect="1"/>
            </p:cNvSpPr>
            <p:nvPr/>
          </p:nvSpPr>
          <p:spPr bwMode="gray">
            <a:xfrm>
              <a:off x="6366664" y="3181696"/>
              <a:ext cx="153988" cy="333375"/>
            </a:xfrm>
            <a:custGeom>
              <a:avLst/>
              <a:gdLst/>
              <a:ahLst/>
              <a:cxnLst>
                <a:cxn ang="0">
                  <a:pos x="125" y="657"/>
                </a:cxn>
                <a:cxn ang="0">
                  <a:pos x="116" y="592"/>
                </a:cxn>
                <a:cxn ang="0">
                  <a:pos x="89" y="559"/>
                </a:cxn>
                <a:cxn ang="0">
                  <a:pos x="85" y="536"/>
                </a:cxn>
                <a:cxn ang="0">
                  <a:pos x="78" y="512"/>
                </a:cxn>
                <a:cxn ang="0">
                  <a:pos x="22" y="470"/>
                </a:cxn>
                <a:cxn ang="0">
                  <a:pos x="0" y="443"/>
                </a:cxn>
                <a:cxn ang="0">
                  <a:pos x="19" y="416"/>
                </a:cxn>
                <a:cxn ang="0">
                  <a:pos x="27" y="376"/>
                </a:cxn>
                <a:cxn ang="0">
                  <a:pos x="47" y="365"/>
                </a:cxn>
                <a:cxn ang="0">
                  <a:pos x="42" y="326"/>
                </a:cxn>
                <a:cxn ang="0">
                  <a:pos x="59" y="276"/>
                </a:cxn>
                <a:cxn ang="0">
                  <a:pos x="101" y="268"/>
                </a:cxn>
                <a:cxn ang="0">
                  <a:pos x="134" y="197"/>
                </a:cxn>
                <a:cxn ang="0">
                  <a:pos x="160" y="155"/>
                </a:cxn>
                <a:cxn ang="0">
                  <a:pos x="194" y="92"/>
                </a:cxn>
                <a:cxn ang="0">
                  <a:pos x="242" y="63"/>
                </a:cxn>
                <a:cxn ang="0">
                  <a:pos x="264" y="33"/>
                </a:cxn>
                <a:cxn ang="0">
                  <a:pos x="290" y="5"/>
                </a:cxn>
                <a:cxn ang="0">
                  <a:pos x="322" y="20"/>
                </a:cxn>
                <a:cxn ang="0">
                  <a:pos x="354" y="79"/>
                </a:cxn>
                <a:cxn ang="0">
                  <a:pos x="342" y="163"/>
                </a:cxn>
                <a:cxn ang="0">
                  <a:pos x="311" y="198"/>
                </a:cxn>
                <a:cxn ang="0">
                  <a:pos x="304" y="256"/>
                </a:cxn>
                <a:cxn ang="0">
                  <a:pos x="323" y="258"/>
                </a:cxn>
                <a:cxn ang="0">
                  <a:pos x="366" y="281"/>
                </a:cxn>
                <a:cxn ang="0">
                  <a:pos x="391" y="346"/>
                </a:cxn>
                <a:cxn ang="0">
                  <a:pos x="423" y="387"/>
                </a:cxn>
                <a:cxn ang="0">
                  <a:pos x="488" y="391"/>
                </a:cxn>
                <a:cxn ang="0">
                  <a:pos x="456" y="427"/>
                </a:cxn>
                <a:cxn ang="0">
                  <a:pos x="445" y="443"/>
                </a:cxn>
                <a:cxn ang="0">
                  <a:pos x="426" y="464"/>
                </a:cxn>
                <a:cxn ang="0">
                  <a:pos x="383" y="496"/>
                </a:cxn>
                <a:cxn ang="0">
                  <a:pos x="332" y="518"/>
                </a:cxn>
                <a:cxn ang="0">
                  <a:pos x="304" y="581"/>
                </a:cxn>
                <a:cxn ang="0">
                  <a:pos x="312" y="635"/>
                </a:cxn>
                <a:cxn ang="0">
                  <a:pos x="344" y="693"/>
                </a:cxn>
                <a:cxn ang="0">
                  <a:pos x="354" y="722"/>
                </a:cxn>
                <a:cxn ang="0">
                  <a:pos x="342" y="760"/>
                </a:cxn>
                <a:cxn ang="0">
                  <a:pos x="334" y="807"/>
                </a:cxn>
                <a:cxn ang="0">
                  <a:pos x="376" y="854"/>
                </a:cxn>
                <a:cxn ang="0">
                  <a:pos x="391" y="922"/>
                </a:cxn>
                <a:cxn ang="0">
                  <a:pos x="375" y="1000"/>
                </a:cxn>
                <a:cxn ang="0">
                  <a:pos x="355" y="1047"/>
                </a:cxn>
                <a:cxn ang="0">
                  <a:pos x="349" y="1017"/>
                </a:cxn>
                <a:cxn ang="0">
                  <a:pos x="351" y="958"/>
                </a:cxn>
                <a:cxn ang="0">
                  <a:pos x="351" y="937"/>
                </a:cxn>
                <a:cxn ang="0">
                  <a:pos x="333" y="851"/>
                </a:cxn>
                <a:cxn ang="0">
                  <a:pos x="317" y="821"/>
                </a:cxn>
                <a:cxn ang="0">
                  <a:pos x="297" y="721"/>
                </a:cxn>
                <a:cxn ang="0">
                  <a:pos x="279" y="688"/>
                </a:cxn>
                <a:cxn ang="0">
                  <a:pos x="251" y="653"/>
                </a:cxn>
                <a:cxn ang="0">
                  <a:pos x="226" y="693"/>
                </a:cxn>
                <a:cxn ang="0">
                  <a:pos x="179" y="726"/>
                </a:cxn>
                <a:cxn ang="0">
                  <a:pos x="154" y="728"/>
                </a:cxn>
                <a:cxn ang="0">
                  <a:pos x="122" y="726"/>
                </a:cxn>
                <a:cxn ang="0">
                  <a:pos x="112" y="704"/>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05" name="Freeform 95"/>
            <p:cNvSpPr>
              <a:spLocks noChangeAspect="1"/>
            </p:cNvSpPr>
            <p:nvPr/>
          </p:nvSpPr>
          <p:spPr bwMode="gray">
            <a:xfrm>
              <a:off x="6541289" y="3435695"/>
              <a:ext cx="92075" cy="74613"/>
            </a:xfrm>
            <a:custGeom>
              <a:avLst/>
              <a:gdLst/>
              <a:ahLst/>
              <a:cxnLst>
                <a:cxn ang="0">
                  <a:pos x="115" y="236"/>
                </a:cxn>
                <a:cxn ang="0">
                  <a:pos x="106" y="230"/>
                </a:cxn>
                <a:cxn ang="0">
                  <a:pos x="82" y="232"/>
                </a:cxn>
                <a:cxn ang="0">
                  <a:pos x="72" y="221"/>
                </a:cxn>
                <a:cxn ang="0">
                  <a:pos x="75" y="204"/>
                </a:cxn>
                <a:cxn ang="0">
                  <a:pos x="64" y="203"/>
                </a:cxn>
                <a:cxn ang="0">
                  <a:pos x="50" y="214"/>
                </a:cxn>
                <a:cxn ang="0">
                  <a:pos x="41" y="186"/>
                </a:cxn>
                <a:cxn ang="0">
                  <a:pos x="45" y="184"/>
                </a:cxn>
                <a:cxn ang="0">
                  <a:pos x="36" y="172"/>
                </a:cxn>
                <a:cxn ang="0">
                  <a:pos x="37" y="157"/>
                </a:cxn>
                <a:cxn ang="0">
                  <a:pos x="25" y="129"/>
                </a:cxn>
                <a:cxn ang="0">
                  <a:pos x="3" y="96"/>
                </a:cxn>
                <a:cxn ang="0">
                  <a:pos x="3" y="67"/>
                </a:cxn>
                <a:cxn ang="0">
                  <a:pos x="15" y="52"/>
                </a:cxn>
                <a:cxn ang="0">
                  <a:pos x="37" y="28"/>
                </a:cxn>
                <a:cxn ang="0">
                  <a:pos x="52" y="19"/>
                </a:cxn>
                <a:cxn ang="0">
                  <a:pos x="95" y="24"/>
                </a:cxn>
                <a:cxn ang="0">
                  <a:pos x="141" y="20"/>
                </a:cxn>
                <a:cxn ang="0">
                  <a:pos x="161" y="25"/>
                </a:cxn>
                <a:cxn ang="0">
                  <a:pos x="187" y="37"/>
                </a:cxn>
                <a:cxn ang="0">
                  <a:pos x="207" y="38"/>
                </a:cxn>
                <a:cxn ang="0">
                  <a:pos x="223" y="15"/>
                </a:cxn>
                <a:cxn ang="0">
                  <a:pos x="242" y="11"/>
                </a:cxn>
                <a:cxn ang="0">
                  <a:pos x="258" y="20"/>
                </a:cxn>
                <a:cxn ang="0">
                  <a:pos x="279" y="6"/>
                </a:cxn>
                <a:cxn ang="0">
                  <a:pos x="281" y="37"/>
                </a:cxn>
                <a:cxn ang="0">
                  <a:pos x="290" y="68"/>
                </a:cxn>
                <a:cxn ang="0">
                  <a:pos x="287" y="129"/>
                </a:cxn>
                <a:cxn ang="0">
                  <a:pos x="272" y="135"/>
                </a:cxn>
                <a:cxn ang="0">
                  <a:pos x="255" y="148"/>
                </a:cxn>
                <a:cxn ang="0">
                  <a:pos x="229" y="156"/>
                </a:cxn>
                <a:cxn ang="0">
                  <a:pos x="209" y="167"/>
                </a:cxn>
                <a:cxn ang="0">
                  <a:pos x="197" y="184"/>
                </a:cxn>
                <a:cxn ang="0">
                  <a:pos x="199" y="202"/>
                </a:cxn>
                <a:cxn ang="0">
                  <a:pos x="185" y="207"/>
                </a:cxn>
                <a:cxn ang="0">
                  <a:pos x="164" y="218"/>
                </a:cxn>
                <a:cxn ang="0">
                  <a:pos x="149" y="215"/>
                </a:cxn>
                <a:cxn ang="0">
                  <a:pos x="143" y="230"/>
                </a:cxn>
                <a:cxn ang="0">
                  <a:pos x="125" y="236"/>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06" name="Freeform 96"/>
            <p:cNvSpPr>
              <a:spLocks noChangeAspect="1"/>
            </p:cNvSpPr>
            <p:nvPr/>
          </p:nvSpPr>
          <p:spPr bwMode="gray">
            <a:xfrm>
              <a:off x="6504776" y="3292821"/>
              <a:ext cx="125413" cy="155575"/>
            </a:xfrm>
            <a:custGeom>
              <a:avLst/>
              <a:gdLst/>
              <a:ahLst/>
              <a:cxnLst>
                <a:cxn ang="0">
                  <a:pos x="135" y="39"/>
                </a:cxn>
                <a:cxn ang="0">
                  <a:pos x="147" y="71"/>
                </a:cxn>
                <a:cxn ang="0">
                  <a:pos x="183" y="98"/>
                </a:cxn>
                <a:cxn ang="0">
                  <a:pos x="228" y="105"/>
                </a:cxn>
                <a:cxn ang="0">
                  <a:pos x="243" y="127"/>
                </a:cxn>
                <a:cxn ang="0">
                  <a:pos x="252" y="151"/>
                </a:cxn>
                <a:cxn ang="0">
                  <a:pos x="220" y="164"/>
                </a:cxn>
                <a:cxn ang="0">
                  <a:pos x="205" y="181"/>
                </a:cxn>
                <a:cxn ang="0">
                  <a:pos x="221" y="196"/>
                </a:cxn>
                <a:cxn ang="0">
                  <a:pos x="271" y="239"/>
                </a:cxn>
                <a:cxn ang="0">
                  <a:pos x="314" y="290"/>
                </a:cxn>
                <a:cxn ang="0">
                  <a:pos x="342" y="317"/>
                </a:cxn>
                <a:cxn ang="0">
                  <a:pos x="345" y="331"/>
                </a:cxn>
                <a:cxn ang="0">
                  <a:pos x="371" y="355"/>
                </a:cxn>
                <a:cxn ang="0">
                  <a:pos x="397" y="409"/>
                </a:cxn>
                <a:cxn ang="0">
                  <a:pos x="394" y="455"/>
                </a:cxn>
                <a:cxn ang="0">
                  <a:pos x="366" y="469"/>
                </a:cxn>
                <a:cxn ang="0">
                  <a:pos x="338" y="464"/>
                </a:cxn>
                <a:cxn ang="0">
                  <a:pos x="313" y="490"/>
                </a:cxn>
                <a:cxn ang="0">
                  <a:pos x="276" y="474"/>
                </a:cxn>
                <a:cxn ang="0">
                  <a:pos x="287" y="459"/>
                </a:cxn>
                <a:cxn ang="0">
                  <a:pos x="290" y="398"/>
                </a:cxn>
                <a:cxn ang="0">
                  <a:pos x="276" y="380"/>
                </a:cxn>
                <a:cxn ang="0">
                  <a:pos x="257" y="367"/>
                </a:cxn>
                <a:cxn ang="0">
                  <a:pos x="247" y="321"/>
                </a:cxn>
                <a:cxn ang="0">
                  <a:pos x="237" y="286"/>
                </a:cxn>
                <a:cxn ang="0">
                  <a:pos x="220" y="270"/>
                </a:cxn>
                <a:cxn ang="0">
                  <a:pos x="195" y="240"/>
                </a:cxn>
                <a:cxn ang="0">
                  <a:pos x="161" y="243"/>
                </a:cxn>
                <a:cxn ang="0">
                  <a:pos x="145" y="261"/>
                </a:cxn>
                <a:cxn ang="0">
                  <a:pos x="115" y="261"/>
                </a:cxn>
                <a:cxn ang="0">
                  <a:pos x="93" y="251"/>
                </a:cxn>
                <a:cxn ang="0">
                  <a:pos x="55" y="274"/>
                </a:cxn>
                <a:cxn ang="0">
                  <a:pos x="44" y="282"/>
                </a:cxn>
                <a:cxn ang="0">
                  <a:pos x="48" y="231"/>
                </a:cxn>
                <a:cxn ang="0">
                  <a:pos x="54" y="202"/>
                </a:cxn>
                <a:cxn ang="0">
                  <a:pos x="50" y="165"/>
                </a:cxn>
                <a:cxn ang="0">
                  <a:pos x="21" y="163"/>
                </a:cxn>
                <a:cxn ang="0">
                  <a:pos x="12" y="121"/>
                </a:cxn>
                <a:cxn ang="0">
                  <a:pos x="0" y="113"/>
                </a:cxn>
                <a:cxn ang="0">
                  <a:pos x="5" y="99"/>
                </a:cxn>
                <a:cxn ang="0">
                  <a:pos x="23" y="92"/>
                </a:cxn>
                <a:cxn ang="0">
                  <a:pos x="48" y="61"/>
                </a:cxn>
                <a:cxn ang="0">
                  <a:pos x="59" y="76"/>
                </a:cxn>
                <a:cxn ang="0">
                  <a:pos x="85" y="52"/>
                </a:cxn>
                <a:cxn ang="0">
                  <a:pos x="77" y="7"/>
                </a:cxn>
                <a:cxn ang="0">
                  <a:pos x="106" y="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807" name="Group 97"/>
            <p:cNvGrpSpPr>
              <a:grpSpLocks noChangeAspect="1"/>
            </p:cNvGrpSpPr>
            <p:nvPr/>
          </p:nvGrpSpPr>
          <p:grpSpPr bwMode="gray">
            <a:xfrm>
              <a:off x="5818977" y="3002308"/>
              <a:ext cx="636588" cy="587375"/>
              <a:chOff x="3183" y="2052"/>
              <a:chExt cx="401" cy="370"/>
            </a:xfrm>
            <a:grpFill/>
          </p:grpSpPr>
          <p:sp>
            <p:nvSpPr>
              <p:cNvPr id="1092" name="Freeform 98"/>
              <p:cNvSpPr>
                <a:spLocks noChangeAspect="1"/>
              </p:cNvSpPr>
              <p:nvPr/>
            </p:nvSpPr>
            <p:spPr bwMode="gray">
              <a:xfrm>
                <a:off x="3509" y="2232"/>
                <a:ext cx="3" cy="5"/>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93" name="Freeform 99"/>
              <p:cNvSpPr>
                <a:spLocks noChangeAspect="1"/>
              </p:cNvSpPr>
              <p:nvPr/>
            </p:nvSpPr>
            <p:spPr bwMode="gray">
              <a:xfrm>
                <a:off x="3262" y="2066"/>
                <a:ext cx="322" cy="332"/>
              </a:xfrm>
              <a:custGeom>
                <a:avLst/>
                <a:gdLst/>
                <a:ahLst/>
                <a:cxnLst>
                  <a:cxn ang="0">
                    <a:pos x="351" y="1334"/>
                  </a:cxn>
                  <a:cxn ang="0">
                    <a:pos x="468" y="1614"/>
                  </a:cxn>
                  <a:cxn ang="0">
                    <a:pos x="594" y="1598"/>
                  </a:cxn>
                  <a:cxn ang="0">
                    <a:pos x="655" y="1431"/>
                  </a:cxn>
                  <a:cxn ang="0">
                    <a:pos x="659" y="1302"/>
                  </a:cxn>
                  <a:cxn ang="0">
                    <a:pos x="733" y="1205"/>
                  </a:cxn>
                  <a:cxn ang="0">
                    <a:pos x="880" y="1087"/>
                  </a:cxn>
                  <a:cxn ang="0">
                    <a:pos x="1036" y="913"/>
                  </a:cxn>
                  <a:cxn ang="0">
                    <a:pos x="1107" y="902"/>
                  </a:cxn>
                  <a:cxn ang="0">
                    <a:pos x="1134" y="854"/>
                  </a:cxn>
                  <a:cxn ang="0">
                    <a:pos x="1120" y="738"/>
                  </a:cxn>
                  <a:cxn ang="0">
                    <a:pos x="1122" y="669"/>
                  </a:cxn>
                  <a:cxn ang="0">
                    <a:pos x="1143" y="613"/>
                  </a:cxn>
                  <a:cxn ang="0">
                    <a:pos x="1264" y="679"/>
                  </a:cxn>
                  <a:cxn ang="0">
                    <a:pos x="1268" y="798"/>
                  </a:cxn>
                  <a:cxn ang="0">
                    <a:pos x="1346" y="881"/>
                  </a:cxn>
                  <a:cxn ang="0">
                    <a:pos x="1387" y="799"/>
                  </a:cxn>
                  <a:cxn ang="0">
                    <a:pos x="1487" y="652"/>
                  </a:cxn>
                  <a:cxn ang="0">
                    <a:pos x="1602" y="525"/>
                  </a:cxn>
                  <a:cxn ang="0">
                    <a:pos x="1532" y="422"/>
                  </a:cxn>
                  <a:cxn ang="0">
                    <a:pos x="1379" y="492"/>
                  </a:cxn>
                  <a:cxn ang="0">
                    <a:pos x="1319" y="570"/>
                  </a:cxn>
                  <a:cxn ang="0">
                    <a:pos x="1160" y="592"/>
                  </a:cxn>
                  <a:cxn ang="0">
                    <a:pos x="1133" y="551"/>
                  </a:cxn>
                  <a:cxn ang="0">
                    <a:pos x="1090" y="541"/>
                  </a:cxn>
                  <a:cxn ang="0">
                    <a:pos x="1046" y="615"/>
                  </a:cxn>
                  <a:cxn ang="0">
                    <a:pos x="873" y="555"/>
                  </a:cxn>
                  <a:cxn ang="0">
                    <a:pos x="772" y="530"/>
                  </a:cxn>
                  <a:cxn ang="0">
                    <a:pos x="676" y="480"/>
                  </a:cxn>
                  <a:cxn ang="0">
                    <a:pos x="675" y="409"/>
                  </a:cxn>
                  <a:cxn ang="0">
                    <a:pos x="690" y="367"/>
                  </a:cxn>
                  <a:cxn ang="0">
                    <a:pos x="631" y="332"/>
                  </a:cxn>
                  <a:cxn ang="0">
                    <a:pos x="589" y="304"/>
                  </a:cxn>
                  <a:cxn ang="0">
                    <a:pos x="581" y="224"/>
                  </a:cxn>
                  <a:cxn ang="0">
                    <a:pos x="617" y="223"/>
                  </a:cxn>
                  <a:cxn ang="0">
                    <a:pos x="597" y="174"/>
                  </a:cxn>
                  <a:cxn ang="0">
                    <a:pos x="628" y="126"/>
                  </a:cxn>
                  <a:cxn ang="0">
                    <a:pos x="666" y="52"/>
                  </a:cxn>
                  <a:cxn ang="0">
                    <a:pos x="642" y="22"/>
                  </a:cxn>
                  <a:cxn ang="0">
                    <a:pos x="599" y="6"/>
                  </a:cxn>
                  <a:cxn ang="0">
                    <a:pos x="489" y="68"/>
                  </a:cxn>
                  <a:cxn ang="0">
                    <a:pos x="427" y="92"/>
                  </a:cxn>
                  <a:cxn ang="0">
                    <a:pos x="333" y="79"/>
                  </a:cxn>
                  <a:cxn ang="0">
                    <a:pos x="320" y="126"/>
                  </a:cxn>
                  <a:cxn ang="0">
                    <a:pos x="321" y="181"/>
                  </a:cxn>
                  <a:cxn ang="0">
                    <a:pos x="384" y="232"/>
                  </a:cxn>
                  <a:cxn ang="0">
                    <a:pos x="362" y="267"/>
                  </a:cxn>
                  <a:cxn ang="0">
                    <a:pos x="371" y="324"/>
                  </a:cxn>
                  <a:cxn ang="0">
                    <a:pos x="314" y="388"/>
                  </a:cxn>
                  <a:cxn ang="0">
                    <a:pos x="212" y="504"/>
                  </a:cxn>
                  <a:cxn ang="0">
                    <a:pos x="132" y="513"/>
                  </a:cxn>
                  <a:cxn ang="0">
                    <a:pos x="111" y="603"/>
                  </a:cxn>
                  <a:cxn ang="0">
                    <a:pos x="142" y="669"/>
                  </a:cxn>
                  <a:cxn ang="0">
                    <a:pos x="166" y="733"/>
                  </a:cxn>
                  <a:cxn ang="0">
                    <a:pos x="127" y="734"/>
                  </a:cxn>
                  <a:cxn ang="0">
                    <a:pos x="47" y="740"/>
                  </a:cxn>
                  <a:cxn ang="0">
                    <a:pos x="0" y="773"/>
                  </a:cxn>
                  <a:cxn ang="0">
                    <a:pos x="124" y="814"/>
                  </a:cxn>
                  <a:cxn ang="0">
                    <a:pos x="131" y="945"/>
                  </a:cxn>
                  <a:cxn ang="0">
                    <a:pos x="229" y="857"/>
                  </a:cxn>
                  <a:cxn ang="0">
                    <a:pos x="246" y="924"/>
                  </a:cxn>
                  <a:cxn ang="0">
                    <a:pos x="261" y="1041"/>
                  </a:cxn>
                  <a:cxn ang="0">
                    <a:pos x="276" y="1157"/>
                  </a:cxn>
                </a:cxnLst>
                <a:rect l="0" t="0" r="r" b="b"/>
                <a:pathLst>
                  <a:path w="1608" h="1661">
                    <a:moveTo>
                      <a:pt x="304" y="1236"/>
                    </a:moveTo>
                    <a:lnTo>
                      <a:pt x="306" y="1238"/>
                    </a:lnTo>
                    <a:lnTo>
                      <a:pt x="310" y="1250"/>
                    </a:lnTo>
                    <a:lnTo>
                      <a:pt x="312" y="1252"/>
                    </a:lnTo>
                    <a:lnTo>
                      <a:pt x="315" y="1249"/>
                    </a:lnTo>
                    <a:lnTo>
                      <a:pt x="320" y="1250"/>
                    </a:lnTo>
                    <a:lnTo>
                      <a:pt x="316" y="1255"/>
                    </a:lnTo>
                    <a:lnTo>
                      <a:pt x="316" y="1260"/>
                    </a:lnTo>
                    <a:lnTo>
                      <a:pt x="322" y="1281"/>
                    </a:lnTo>
                    <a:lnTo>
                      <a:pt x="331" y="1293"/>
                    </a:lnTo>
                    <a:lnTo>
                      <a:pt x="338" y="1297"/>
                    </a:lnTo>
                    <a:lnTo>
                      <a:pt x="348" y="1319"/>
                    </a:lnTo>
                    <a:lnTo>
                      <a:pt x="351" y="1334"/>
                    </a:lnTo>
                    <a:lnTo>
                      <a:pt x="358" y="1343"/>
                    </a:lnTo>
                    <a:lnTo>
                      <a:pt x="364" y="1358"/>
                    </a:lnTo>
                    <a:lnTo>
                      <a:pt x="370" y="1388"/>
                    </a:lnTo>
                    <a:lnTo>
                      <a:pt x="382" y="1426"/>
                    </a:lnTo>
                    <a:lnTo>
                      <a:pt x="382" y="1429"/>
                    </a:lnTo>
                    <a:lnTo>
                      <a:pt x="391" y="1444"/>
                    </a:lnTo>
                    <a:lnTo>
                      <a:pt x="401" y="1453"/>
                    </a:lnTo>
                    <a:lnTo>
                      <a:pt x="418" y="1475"/>
                    </a:lnTo>
                    <a:lnTo>
                      <a:pt x="425" y="1494"/>
                    </a:lnTo>
                    <a:lnTo>
                      <a:pt x="432" y="1519"/>
                    </a:lnTo>
                    <a:lnTo>
                      <a:pt x="454" y="1572"/>
                    </a:lnTo>
                    <a:lnTo>
                      <a:pt x="461" y="1600"/>
                    </a:lnTo>
                    <a:lnTo>
                      <a:pt x="468" y="1614"/>
                    </a:lnTo>
                    <a:lnTo>
                      <a:pt x="481" y="1633"/>
                    </a:lnTo>
                    <a:lnTo>
                      <a:pt x="495" y="1650"/>
                    </a:lnTo>
                    <a:lnTo>
                      <a:pt x="508" y="1661"/>
                    </a:lnTo>
                    <a:lnTo>
                      <a:pt x="525" y="1661"/>
                    </a:lnTo>
                    <a:lnTo>
                      <a:pt x="534" y="1653"/>
                    </a:lnTo>
                    <a:lnTo>
                      <a:pt x="534" y="1650"/>
                    </a:lnTo>
                    <a:lnTo>
                      <a:pt x="540" y="1647"/>
                    </a:lnTo>
                    <a:lnTo>
                      <a:pt x="546" y="1642"/>
                    </a:lnTo>
                    <a:lnTo>
                      <a:pt x="548" y="1636"/>
                    </a:lnTo>
                    <a:lnTo>
                      <a:pt x="547" y="1632"/>
                    </a:lnTo>
                    <a:lnTo>
                      <a:pt x="554" y="1611"/>
                    </a:lnTo>
                    <a:lnTo>
                      <a:pt x="577" y="1600"/>
                    </a:lnTo>
                    <a:lnTo>
                      <a:pt x="594" y="1598"/>
                    </a:lnTo>
                    <a:lnTo>
                      <a:pt x="593" y="1588"/>
                    </a:lnTo>
                    <a:lnTo>
                      <a:pt x="594" y="1578"/>
                    </a:lnTo>
                    <a:lnTo>
                      <a:pt x="607" y="1560"/>
                    </a:lnTo>
                    <a:lnTo>
                      <a:pt x="610" y="1552"/>
                    </a:lnTo>
                    <a:lnTo>
                      <a:pt x="615" y="1541"/>
                    </a:lnTo>
                    <a:lnTo>
                      <a:pt x="628" y="1539"/>
                    </a:lnTo>
                    <a:lnTo>
                      <a:pt x="632" y="1542"/>
                    </a:lnTo>
                    <a:lnTo>
                      <a:pt x="643" y="1542"/>
                    </a:lnTo>
                    <a:lnTo>
                      <a:pt x="643" y="1525"/>
                    </a:lnTo>
                    <a:lnTo>
                      <a:pt x="640" y="1496"/>
                    </a:lnTo>
                    <a:lnTo>
                      <a:pt x="640" y="1467"/>
                    </a:lnTo>
                    <a:lnTo>
                      <a:pt x="643" y="1456"/>
                    </a:lnTo>
                    <a:lnTo>
                      <a:pt x="655" y="1431"/>
                    </a:lnTo>
                    <a:lnTo>
                      <a:pt x="660" y="1417"/>
                    </a:lnTo>
                    <a:lnTo>
                      <a:pt x="667" y="1390"/>
                    </a:lnTo>
                    <a:lnTo>
                      <a:pt x="669" y="1381"/>
                    </a:lnTo>
                    <a:lnTo>
                      <a:pt x="667" y="1368"/>
                    </a:lnTo>
                    <a:lnTo>
                      <a:pt x="661" y="1363"/>
                    </a:lnTo>
                    <a:lnTo>
                      <a:pt x="660" y="1358"/>
                    </a:lnTo>
                    <a:lnTo>
                      <a:pt x="658" y="1356"/>
                    </a:lnTo>
                    <a:lnTo>
                      <a:pt x="660" y="1352"/>
                    </a:lnTo>
                    <a:lnTo>
                      <a:pt x="664" y="1356"/>
                    </a:lnTo>
                    <a:lnTo>
                      <a:pt x="656" y="1324"/>
                    </a:lnTo>
                    <a:lnTo>
                      <a:pt x="659" y="1314"/>
                    </a:lnTo>
                    <a:lnTo>
                      <a:pt x="659" y="1304"/>
                    </a:lnTo>
                    <a:lnTo>
                      <a:pt x="659" y="1302"/>
                    </a:lnTo>
                    <a:lnTo>
                      <a:pt x="655" y="1297"/>
                    </a:lnTo>
                    <a:lnTo>
                      <a:pt x="654" y="1284"/>
                    </a:lnTo>
                    <a:lnTo>
                      <a:pt x="654" y="1262"/>
                    </a:lnTo>
                    <a:lnTo>
                      <a:pt x="661" y="1251"/>
                    </a:lnTo>
                    <a:lnTo>
                      <a:pt x="670" y="1238"/>
                    </a:lnTo>
                    <a:lnTo>
                      <a:pt x="680" y="1233"/>
                    </a:lnTo>
                    <a:lnTo>
                      <a:pt x="688" y="1232"/>
                    </a:lnTo>
                    <a:lnTo>
                      <a:pt x="698" y="1238"/>
                    </a:lnTo>
                    <a:lnTo>
                      <a:pt x="706" y="1234"/>
                    </a:lnTo>
                    <a:lnTo>
                      <a:pt x="713" y="1222"/>
                    </a:lnTo>
                    <a:lnTo>
                      <a:pt x="718" y="1208"/>
                    </a:lnTo>
                    <a:lnTo>
                      <a:pt x="720" y="1208"/>
                    </a:lnTo>
                    <a:lnTo>
                      <a:pt x="733" y="1205"/>
                    </a:lnTo>
                    <a:lnTo>
                      <a:pt x="746" y="1202"/>
                    </a:lnTo>
                    <a:lnTo>
                      <a:pt x="769" y="1193"/>
                    </a:lnTo>
                    <a:lnTo>
                      <a:pt x="776" y="1185"/>
                    </a:lnTo>
                    <a:lnTo>
                      <a:pt x="776" y="1174"/>
                    </a:lnTo>
                    <a:lnTo>
                      <a:pt x="782" y="1164"/>
                    </a:lnTo>
                    <a:lnTo>
                      <a:pt x="795" y="1155"/>
                    </a:lnTo>
                    <a:lnTo>
                      <a:pt x="820" y="1136"/>
                    </a:lnTo>
                    <a:lnTo>
                      <a:pt x="837" y="1123"/>
                    </a:lnTo>
                    <a:lnTo>
                      <a:pt x="849" y="1109"/>
                    </a:lnTo>
                    <a:lnTo>
                      <a:pt x="864" y="1098"/>
                    </a:lnTo>
                    <a:lnTo>
                      <a:pt x="875" y="1092"/>
                    </a:lnTo>
                    <a:lnTo>
                      <a:pt x="878" y="1088"/>
                    </a:lnTo>
                    <a:lnTo>
                      <a:pt x="880" y="1087"/>
                    </a:lnTo>
                    <a:lnTo>
                      <a:pt x="890" y="1077"/>
                    </a:lnTo>
                    <a:lnTo>
                      <a:pt x="925" y="1034"/>
                    </a:lnTo>
                    <a:lnTo>
                      <a:pt x="938" y="1024"/>
                    </a:lnTo>
                    <a:lnTo>
                      <a:pt x="968" y="1007"/>
                    </a:lnTo>
                    <a:lnTo>
                      <a:pt x="986" y="1001"/>
                    </a:lnTo>
                    <a:lnTo>
                      <a:pt x="995" y="996"/>
                    </a:lnTo>
                    <a:lnTo>
                      <a:pt x="998" y="996"/>
                    </a:lnTo>
                    <a:lnTo>
                      <a:pt x="1015" y="981"/>
                    </a:lnTo>
                    <a:lnTo>
                      <a:pt x="1024" y="970"/>
                    </a:lnTo>
                    <a:lnTo>
                      <a:pt x="1026" y="964"/>
                    </a:lnTo>
                    <a:lnTo>
                      <a:pt x="1036" y="953"/>
                    </a:lnTo>
                    <a:lnTo>
                      <a:pt x="1030" y="929"/>
                    </a:lnTo>
                    <a:lnTo>
                      <a:pt x="1036" y="913"/>
                    </a:lnTo>
                    <a:lnTo>
                      <a:pt x="1068" y="897"/>
                    </a:lnTo>
                    <a:lnTo>
                      <a:pt x="1078" y="894"/>
                    </a:lnTo>
                    <a:lnTo>
                      <a:pt x="1084" y="889"/>
                    </a:lnTo>
                    <a:lnTo>
                      <a:pt x="1089" y="880"/>
                    </a:lnTo>
                    <a:lnTo>
                      <a:pt x="1091" y="874"/>
                    </a:lnTo>
                    <a:lnTo>
                      <a:pt x="1096" y="868"/>
                    </a:lnTo>
                    <a:lnTo>
                      <a:pt x="1100" y="868"/>
                    </a:lnTo>
                    <a:lnTo>
                      <a:pt x="1097" y="880"/>
                    </a:lnTo>
                    <a:lnTo>
                      <a:pt x="1097" y="893"/>
                    </a:lnTo>
                    <a:lnTo>
                      <a:pt x="1099" y="894"/>
                    </a:lnTo>
                    <a:lnTo>
                      <a:pt x="1101" y="894"/>
                    </a:lnTo>
                    <a:lnTo>
                      <a:pt x="1104" y="895"/>
                    </a:lnTo>
                    <a:lnTo>
                      <a:pt x="1107" y="902"/>
                    </a:lnTo>
                    <a:lnTo>
                      <a:pt x="1116" y="901"/>
                    </a:lnTo>
                    <a:lnTo>
                      <a:pt x="1121" y="897"/>
                    </a:lnTo>
                    <a:lnTo>
                      <a:pt x="1124" y="899"/>
                    </a:lnTo>
                    <a:lnTo>
                      <a:pt x="1126" y="890"/>
                    </a:lnTo>
                    <a:lnTo>
                      <a:pt x="1128" y="886"/>
                    </a:lnTo>
                    <a:lnTo>
                      <a:pt x="1131" y="896"/>
                    </a:lnTo>
                    <a:lnTo>
                      <a:pt x="1134" y="900"/>
                    </a:lnTo>
                    <a:lnTo>
                      <a:pt x="1142" y="897"/>
                    </a:lnTo>
                    <a:lnTo>
                      <a:pt x="1135" y="884"/>
                    </a:lnTo>
                    <a:lnTo>
                      <a:pt x="1137" y="878"/>
                    </a:lnTo>
                    <a:lnTo>
                      <a:pt x="1135" y="874"/>
                    </a:lnTo>
                    <a:lnTo>
                      <a:pt x="1133" y="863"/>
                    </a:lnTo>
                    <a:lnTo>
                      <a:pt x="1134" y="854"/>
                    </a:lnTo>
                    <a:lnTo>
                      <a:pt x="1132" y="846"/>
                    </a:lnTo>
                    <a:lnTo>
                      <a:pt x="1127" y="841"/>
                    </a:lnTo>
                    <a:lnTo>
                      <a:pt x="1124" y="832"/>
                    </a:lnTo>
                    <a:lnTo>
                      <a:pt x="1124" y="823"/>
                    </a:lnTo>
                    <a:lnTo>
                      <a:pt x="1126" y="820"/>
                    </a:lnTo>
                    <a:lnTo>
                      <a:pt x="1127" y="804"/>
                    </a:lnTo>
                    <a:lnTo>
                      <a:pt x="1126" y="800"/>
                    </a:lnTo>
                    <a:lnTo>
                      <a:pt x="1122" y="799"/>
                    </a:lnTo>
                    <a:lnTo>
                      <a:pt x="1122" y="784"/>
                    </a:lnTo>
                    <a:lnTo>
                      <a:pt x="1116" y="778"/>
                    </a:lnTo>
                    <a:lnTo>
                      <a:pt x="1116" y="770"/>
                    </a:lnTo>
                    <a:lnTo>
                      <a:pt x="1118" y="759"/>
                    </a:lnTo>
                    <a:lnTo>
                      <a:pt x="1120" y="738"/>
                    </a:lnTo>
                    <a:lnTo>
                      <a:pt x="1111" y="728"/>
                    </a:lnTo>
                    <a:lnTo>
                      <a:pt x="1105" y="723"/>
                    </a:lnTo>
                    <a:lnTo>
                      <a:pt x="1094" y="718"/>
                    </a:lnTo>
                    <a:lnTo>
                      <a:pt x="1085" y="714"/>
                    </a:lnTo>
                    <a:lnTo>
                      <a:pt x="1084" y="708"/>
                    </a:lnTo>
                    <a:lnTo>
                      <a:pt x="1085" y="703"/>
                    </a:lnTo>
                    <a:lnTo>
                      <a:pt x="1090" y="695"/>
                    </a:lnTo>
                    <a:lnTo>
                      <a:pt x="1097" y="694"/>
                    </a:lnTo>
                    <a:lnTo>
                      <a:pt x="1104" y="690"/>
                    </a:lnTo>
                    <a:lnTo>
                      <a:pt x="1106" y="683"/>
                    </a:lnTo>
                    <a:lnTo>
                      <a:pt x="1126" y="681"/>
                    </a:lnTo>
                    <a:lnTo>
                      <a:pt x="1126" y="673"/>
                    </a:lnTo>
                    <a:lnTo>
                      <a:pt x="1122" y="669"/>
                    </a:lnTo>
                    <a:lnTo>
                      <a:pt x="1123" y="665"/>
                    </a:lnTo>
                    <a:lnTo>
                      <a:pt x="1108" y="667"/>
                    </a:lnTo>
                    <a:lnTo>
                      <a:pt x="1101" y="662"/>
                    </a:lnTo>
                    <a:lnTo>
                      <a:pt x="1099" y="648"/>
                    </a:lnTo>
                    <a:lnTo>
                      <a:pt x="1095" y="644"/>
                    </a:lnTo>
                    <a:lnTo>
                      <a:pt x="1110" y="620"/>
                    </a:lnTo>
                    <a:lnTo>
                      <a:pt x="1112" y="608"/>
                    </a:lnTo>
                    <a:lnTo>
                      <a:pt x="1117" y="605"/>
                    </a:lnTo>
                    <a:lnTo>
                      <a:pt x="1126" y="622"/>
                    </a:lnTo>
                    <a:lnTo>
                      <a:pt x="1132" y="630"/>
                    </a:lnTo>
                    <a:lnTo>
                      <a:pt x="1133" y="622"/>
                    </a:lnTo>
                    <a:lnTo>
                      <a:pt x="1137" y="610"/>
                    </a:lnTo>
                    <a:lnTo>
                      <a:pt x="1143" y="613"/>
                    </a:lnTo>
                    <a:lnTo>
                      <a:pt x="1145" y="627"/>
                    </a:lnTo>
                    <a:lnTo>
                      <a:pt x="1153" y="636"/>
                    </a:lnTo>
                    <a:lnTo>
                      <a:pt x="1159" y="632"/>
                    </a:lnTo>
                    <a:lnTo>
                      <a:pt x="1166" y="638"/>
                    </a:lnTo>
                    <a:lnTo>
                      <a:pt x="1175" y="624"/>
                    </a:lnTo>
                    <a:lnTo>
                      <a:pt x="1177" y="628"/>
                    </a:lnTo>
                    <a:lnTo>
                      <a:pt x="1180" y="648"/>
                    </a:lnTo>
                    <a:lnTo>
                      <a:pt x="1185" y="667"/>
                    </a:lnTo>
                    <a:lnTo>
                      <a:pt x="1192" y="675"/>
                    </a:lnTo>
                    <a:lnTo>
                      <a:pt x="1203" y="680"/>
                    </a:lnTo>
                    <a:lnTo>
                      <a:pt x="1246" y="684"/>
                    </a:lnTo>
                    <a:lnTo>
                      <a:pt x="1250" y="681"/>
                    </a:lnTo>
                    <a:lnTo>
                      <a:pt x="1264" y="679"/>
                    </a:lnTo>
                    <a:lnTo>
                      <a:pt x="1288" y="681"/>
                    </a:lnTo>
                    <a:lnTo>
                      <a:pt x="1311" y="685"/>
                    </a:lnTo>
                    <a:lnTo>
                      <a:pt x="1326" y="691"/>
                    </a:lnTo>
                    <a:lnTo>
                      <a:pt x="1325" y="696"/>
                    </a:lnTo>
                    <a:lnTo>
                      <a:pt x="1315" y="701"/>
                    </a:lnTo>
                    <a:lnTo>
                      <a:pt x="1310" y="714"/>
                    </a:lnTo>
                    <a:lnTo>
                      <a:pt x="1298" y="729"/>
                    </a:lnTo>
                    <a:lnTo>
                      <a:pt x="1288" y="739"/>
                    </a:lnTo>
                    <a:lnTo>
                      <a:pt x="1276" y="744"/>
                    </a:lnTo>
                    <a:lnTo>
                      <a:pt x="1262" y="754"/>
                    </a:lnTo>
                    <a:lnTo>
                      <a:pt x="1260" y="762"/>
                    </a:lnTo>
                    <a:lnTo>
                      <a:pt x="1261" y="778"/>
                    </a:lnTo>
                    <a:lnTo>
                      <a:pt x="1268" y="798"/>
                    </a:lnTo>
                    <a:lnTo>
                      <a:pt x="1278" y="799"/>
                    </a:lnTo>
                    <a:lnTo>
                      <a:pt x="1284" y="809"/>
                    </a:lnTo>
                    <a:lnTo>
                      <a:pt x="1292" y="814"/>
                    </a:lnTo>
                    <a:lnTo>
                      <a:pt x="1295" y="807"/>
                    </a:lnTo>
                    <a:lnTo>
                      <a:pt x="1301" y="786"/>
                    </a:lnTo>
                    <a:lnTo>
                      <a:pt x="1312" y="771"/>
                    </a:lnTo>
                    <a:lnTo>
                      <a:pt x="1319" y="772"/>
                    </a:lnTo>
                    <a:lnTo>
                      <a:pt x="1326" y="786"/>
                    </a:lnTo>
                    <a:lnTo>
                      <a:pt x="1331" y="803"/>
                    </a:lnTo>
                    <a:lnTo>
                      <a:pt x="1333" y="811"/>
                    </a:lnTo>
                    <a:lnTo>
                      <a:pt x="1336" y="819"/>
                    </a:lnTo>
                    <a:lnTo>
                      <a:pt x="1342" y="847"/>
                    </a:lnTo>
                    <a:lnTo>
                      <a:pt x="1346" y="881"/>
                    </a:lnTo>
                    <a:lnTo>
                      <a:pt x="1349" y="878"/>
                    </a:lnTo>
                    <a:lnTo>
                      <a:pt x="1354" y="873"/>
                    </a:lnTo>
                    <a:lnTo>
                      <a:pt x="1363" y="875"/>
                    </a:lnTo>
                    <a:lnTo>
                      <a:pt x="1368" y="874"/>
                    </a:lnTo>
                    <a:lnTo>
                      <a:pt x="1373" y="868"/>
                    </a:lnTo>
                    <a:lnTo>
                      <a:pt x="1374" y="862"/>
                    </a:lnTo>
                    <a:lnTo>
                      <a:pt x="1371" y="862"/>
                    </a:lnTo>
                    <a:lnTo>
                      <a:pt x="1368" y="852"/>
                    </a:lnTo>
                    <a:lnTo>
                      <a:pt x="1368" y="836"/>
                    </a:lnTo>
                    <a:lnTo>
                      <a:pt x="1369" y="823"/>
                    </a:lnTo>
                    <a:lnTo>
                      <a:pt x="1380" y="824"/>
                    </a:lnTo>
                    <a:lnTo>
                      <a:pt x="1384" y="819"/>
                    </a:lnTo>
                    <a:lnTo>
                      <a:pt x="1387" y="799"/>
                    </a:lnTo>
                    <a:lnTo>
                      <a:pt x="1386" y="773"/>
                    </a:lnTo>
                    <a:lnTo>
                      <a:pt x="1393" y="766"/>
                    </a:lnTo>
                    <a:lnTo>
                      <a:pt x="1407" y="762"/>
                    </a:lnTo>
                    <a:lnTo>
                      <a:pt x="1420" y="765"/>
                    </a:lnTo>
                    <a:lnTo>
                      <a:pt x="1428" y="765"/>
                    </a:lnTo>
                    <a:lnTo>
                      <a:pt x="1433" y="760"/>
                    </a:lnTo>
                    <a:lnTo>
                      <a:pt x="1439" y="740"/>
                    </a:lnTo>
                    <a:lnTo>
                      <a:pt x="1457" y="705"/>
                    </a:lnTo>
                    <a:lnTo>
                      <a:pt x="1461" y="694"/>
                    </a:lnTo>
                    <a:lnTo>
                      <a:pt x="1459" y="684"/>
                    </a:lnTo>
                    <a:lnTo>
                      <a:pt x="1465" y="675"/>
                    </a:lnTo>
                    <a:lnTo>
                      <a:pt x="1481" y="664"/>
                    </a:lnTo>
                    <a:lnTo>
                      <a:pt x="1487" y="652"/>
                    </a:lnTo>
                    <a:lnTo>
                      <a:pt x="1486" y="624"/>
                    </a:lnTo>
                    <a:lnTo>
                      <a:pt x="1493" y="608"/>
                    </a:lnTo>
                    <a:lnTo>
                      <a:pt x="1506" y="597"/>
                    </a:lnTo>
                    <a:lnTo>
                      <a:pt x="1521" y="589"/>
                    </a:lnTo>
                    <a:lnTo>
                      <a:pt x="1531" y="581"/>
                    </a:lnTo>
                    <a:lnTo>
                      <a:pt x="1538" y="567"/>
                    </a:lnTo>
                    <a:lnTo>
                      <a:pt x="1558" y="563"/>
                    </a:lnTo>
                    <a:lnTo>
                      <a:pt x="1569" y="560"/>
                    </a:lnTo>
                    <a:lnTo>
                      <a:pt x="1585" y="565"/>
                    </a:lnTo>
                    <a:lnTo>
                      <a:pt x="1590" y="560"/>
                    </a:lnTo>
                    <a:lnTo>
                      <a:pt x="1586" y="544"/>
                    </a:lnTo>
                    <a:lnTo>
                      <a:pt x="1591" y="530"/>
                    </a:lnTo>
                    <a:lnTo>
                      <a:pt x="1602" y="525"/>
                    </a:lnTo>
                    <a:lnTo>
                      <a:pt x="1608" y="518"/>
                    </a:lnTo>
                    <a:lnTo>
                      <a:pt x="1608" y="506"/>
                    </a:lnTo>
                    <a:lnTo>
                      <a:pt x="1604" y="493"/>
                    </a:lnTo>
                    <a:lnTo>
                      <a:pt x="1594" y="490"/>
                    </a:lnTo>
                    <a:lnTo>
                      <a:pt x="1580" y="490"/>
                    </a:lnTo>
                    <a:lnTo>
                      <a:pt x="1570" y="486"/>
                    </a:lnTo>
                    <a:lnTo>
                      <a:pt x="1552" y="486"/>
                    </a:lnTo>
                    <a:lnTo>
                      <a:pt x="1554" y="470"/>
                    </a:lnTo>
                    <a:lnTo>
                      <a:pt x="1556" y="455"/>
                    </a:lnTo>
                    <a:lnTo>
                      <a:pt x="1543" y="453"/>
                    </a:lnTo>
                    <a:lnTo>
                      <a:pt x="1541" y="442"/>
                    </a:lnTo>
                    <a:lnTo>
                      <a:pt x="1543" y="434"/>
                    </a:lnTo>
                    <a:lnTo>
                      <a:pt x="1532" y="422"/>
                    </a:lnTo>
                    <a:lnTo>
                      <a:pt x="1520" y="426"/>
                    </a:lnTo>
                    <a:lnTo>
                      <a:pt x="1505" y="436"/>
                    </a:lnTo>
                    <a:lnTo>
                      <a:pt x="1492" y="439"/>
                    </a:lnTo>
                    <a:lnTo>
                      <a:pt x="1472" y="441"/>
                    </a:lnTo>
                    <a:lnTo>
                      <a:pt x="1463" y="439"/>
                    </a:lnTo>
                    <a:lnTo>
                      <a:pt x="1457" y="434"/>
                    </a:lnTo>
                    <a:lnTo>
                      <a:pt x="1452" y="433"/>
                    </a:lnTo>
                    <a:lnTo>
                      <a:pt x="1443" y="438"/>
                    </a:lnTo>
                    <a:lnTo>
                      <a:pt x="1434" y="444"/>
                    </a:lnTo>
                    <a:lnTo>
                      <a:pt x="1428" y="455"/>
                    </a:lnTo>
                    <a:lnTo>
                      <a:pt x="1408" y="472"/>
                    </a:lnTo>
                    <a:lnTo>
                      <a:pt x="1393" y="476"/>
                    </a:lnTo>
                    <a:lnTo>
                      <a:pt x="1379" y="492"/>
                    </a:lnTo>
                    <a:lnTo>
                      <a:pt x="1369" y="499"/>
                    </a:lnTo>
                    <a:lnTo>
                      <a:pt x="1354" y="507"/>
                    </a:lnTo>
                    <a:lnTo>
                      <a:pt x="1342" y="515"/>
                    </a:lnTo>
                    <a:lnTo>
                      <a:pt x="1314" y="522"/>
                    </a:lnTo>
                    <a:lnTo>
                      <a:pt x="1296" y="527"/>
                    </a:lnTo>
                    <a:lnTo>
                      <a:pt x="1298" y="529"/>
                    </a:lnTo>
                    <a:lnTo>
                      <a:pt x="1298" y="531"/>
                    </a:lnTo>
                    <a:lnTo>
                      <a:pt x="1295" y="538"/>
                    </a:lnTo>
                    <a:lnTo>
                      <a:pt x="1295" y="540"/>
                    </a:lnTo>
                    <a:lnTo>
                      <a:pt x="1296" y="542"/>
                    </a:lnTo>
                    <a:lnTo>
                      <a:pt x="1315" y="550"/>
                    </a:lnTo>
                    <a:lnTo>
                      <a:pt x="1321" y="556"/>
                    </a:lnTo>
                    <a:lnTo>
                      <a:pt x="1319" y="570"/>
                    </a:lnTo>
                    <a:lnTo>
                      <a:pt x="1320" y="574"/>
                    </a:lnTo>
                    <a:lnTo>
                      <a:pt x="1320" y="577"/>
                    </a:lnTo>
                    <a:lnTo>
                      <a:pt x="1312" y="581"/>
                    </a:lnTo>
                    <a:lnTo>
                      <a:pt x="1292" y="584"/>
                    </a:lnTo>
                    <a:lnTo>
                      <a:pt x="1278" y="585"/>
                    </a:lnTo>
                    <a:lnTo>
                      <a:pt x="1257" y="589"/>
                    </a:lnTo>
                    <a:lnTo>
                      <a:pt x="1249" y="590"/>
                    </a:lnTo>
                    <a:lnTo>
                      <a:pt x="1240" y="590"/>
                    </a:lnTo>
                    <a:lnTo>
                      <a:pt x="1230" y="587"/>
                    </a:lnTo>
                    <a:lnTo>
                      <a:pt x="1225" y="587"/>
                    </a:lnTo>
                    <a:lnTo>
                      <a:pt x="1202" y="595"/>
                    </a:lnTo>
                    <a:lnTo>
                      <a:pt x="1183" y="595"/>
                    </a:lnTo>
                    <a:lnTo>
                      <a:pt x="1160" y="592"/>
                    </a:lnTo>
                    <a:lnTo>
                      <a:pt x="1149" y="588"/>
                    </a:lnTo>
                    <a:lnTo>
                      <a:pt x="1145" y="585"/>
                    </a:lnTo>
                    <a:lnTo>
                      <a:pt x="1142" y="585"/>
                    </a:lnTo>
                    <a:lnTo>
                      <a:pt x="1140" y="584"/>
                    </a:lnTo>
                    <a:lnTo>
                      <a:pt x="1140" y="577"/>
                    </a:lnTo>
                    <a:lnTo>
                      <a:pt x="1139" y="574"/>
                    </a:lnTo>
                    <a:lnTo>
                      <a:pt x="1134" y="573"/>
                    </a:lnTo>
                    <a:lnTo>
                      <a:pt x="1134" y="568"/>
                    </a:lnTo>
                    <a:lnTo>
                      <a:pt x="1143" y="560"/>
                    </a:lnTo>
                    <a:lnTo>
                      <a:pt x="1144" y="556"/>
                    </a:lnTo>
                    <a:lnTo>
                      <a:pt x="1139" y="556"/>
                    </a:lnTo>
                    <a:lnTo>
                      <a:pt x="1135" y="554"/>
                    </a:lnTo>
                    <a:lnTo>
                      <a:pt x="1133" y="551"/>
                    </a:lnTo>
                    <a:lnTo>
                      <a:pt x="1133" y="544"/>
                    </a:lnTo>
                    <a:lnTo>
                      <a:pt x="1137" y="531"/>
                    </a:lnTo>
                    <a:lnTo>
                      <a:pt x="1137" y="525"/>
                    </a:lnTo>
                    <a:lnTo>
                      <a:pt x="1134" y="515"/>
                    </a:lnTo>
                    <a:lnTo>
                      <a:pt x="1133" y="512"/>
                    </a:lnTo>
                    <a:lnTo>
                      <a:pt x="1128" y="509"/>
                    </a:lnTo>
                    <a:lnTo>
                      <a:pt x="1123" y="511"/>
                    </a:lnTo>
                    <a:lnTo>
                      <a:pt x="1115" y="517"/>
                    </a:lnTo>
                    <a:lnTo>
                      <a:pt x="1107" y="517"/>
                    </a:lnTo>
                    <a:lnTo>
                      <a:pt x="1099" y="520"/>
                    </a:lnTo>
                    <a:lnTo>
                      <a:pt x="1097" y="522"/>
                    </a:lnTo>
                    <a:lnTo>
                      <a:pt x="1094" y="529"/>
                    </a:lnTo>
                    <a:lnTo>
                      <a:pt x="1090" y="541"/>
                    </a:lnTo>
                    <a:lnTo>
                      <a:pt x="1091" y="556"/>
                    </a:lnTo>
                    <a:lnTo>
                      <a:pt x="1090" y="570"/>
                    </a:lnTo>
                    <a:lnTo>
                      <a:pt x="1086" y="574"/>
                    </a:lnTo>
                    <a:lnTo>
                      <a:pt x="1086" y="578"/>
                    </a:lnTo>
                    <a:lnTo>
                      <a:pt x="1094" y="582"/>
                    </a:lnTo>
                    <a:lnTo>
                      <a:pt x="1099" y="592"/>
                    </a:lnTo>
                    <a:lnTo>
                      <a:pt x="1099" y="599"/>
                    </a:lnTo>
                    <a:lnTo>
                      <a:pt x="1092" y="610"/>
                    </a:lnTo>
                    <a:lnTo>
                      <a:pt x="1092" y="613"/>
                    </a:lnTo>
                    <a:lnTo>
                      <a:pt x="1080" y="611"/>
                    </a:lnTo>
                    <a:lnTo>
                      <a:pt x="1069" y="614"/>
                    </a:lnTo>
                    <a:lnTo>
                      <a:pt x="1054" y="613"/>
                    </a:lnTo>
                    <a:lnTo>
                      <a:pt x="1046" y="615"/>
                    </a:lnTo>
                    <a:lnTo>
                      <a:pt x="1036" y="610"/>
                    </a:lnTo>
                    <a:lnTo>
                      <a:pt x="1026" y="609"/>
                    </a:lnTo>
                    <a:lnTo>
                      <a:pt x="1020" y="609"/>
                    </a:lnTo>
                    <a:lnTo>
                      <a:pt x="973" y="601"/>
                    </a:lnTo>
                    <a:lnTo>
                      <a:pt x="967" y="595"/>
                    </a:lnTo>
                    <a:lnTo>
                      <a:pt x="959" y="592"/>
                    </a:lnTo>
                    <a:lnTo>
                      <a:pt x="945" y="593"/>
                    </a:lnTo>
                    <a:lnTo>
                      <a:pt x="925" y="589"/>
                    </a:lnTo>
                    <a:lnTo>
                      <a:pt x="913" y="581"/>
                    </a:lnTo>
                    <a:lnTo>
                      <a:pt x="907" y="576"/>
                    </a:lnTo>
                    <a:lnTo>
                      <a:pt x="897" y="562"/>
                    </a:lnTo>
                    <a:lnTo>
                      <a:pt x="891" y="558"/>
                    </a:lnTo>
                    <a:lnTo>
                      <a:pt x="873" y="555"/>
                    </a:lnTo>
                    <a:lnTo>
                      <a:pt x="869" y="555"/>
                    </a:lnTo>
                    <a:lnTo>
                      <a:pt x="866" y="558"/>
                    </a:lnTo>
                    <a:lnTo>
                      <a:pt x="860" y="557"/>
                    </a:lnTo>
                    <a:lnTo>
                      <a:pt x="852" y="554"/>
                    </a:lnTo>
                    <a:lnTo>
                      <a:pt x="841" y="554"/>
                    </a:lnTo>
                    <a:lnTo>
                      <a:pt x="832" y="558"/>
                    </a:lnTo>
                    <a:lnTo>
                      <a:pt x="827" y="558"/>
                    </a:lnTo>
                    <a:lnTo>
                      <a:pt x="806" y="554"/>
                    </a:lnTo>
                    <a:lnTo>
                      <a:pt x="796" y="541"/>
                    </a:lnTo>
                    <a:lnTo>
                      <a:pt x="794" y="539"/>
                    </a:lnTo>
                    <a:lnTo>
                      <a:pt x="785" y="538"/>
                    </a:lnTo>
                    <a:lnTo>
                      <a:pt x="782" y="538"/>
                    </a:lnTo>
                    <a:lnTo>
                      <a:pt x="772" y="530"/>
                    </a:lnTo>
                    <a:lnTo>
                      <a:pt x="761" y="525"/>
                    </a:lnTo>
                    <a:lnTo>
                      <a:pt x="751" y="524"/>
                    </a:lnTo>
                    <a:lnTo>
                      <a:pt x="741" y="519"/>
                    </a:lnTo>
                    <a:lnTo>
                      <a:pt x="736" y="515"/>
                    </a:lnTo>
                    <a:lnTo>
                      <a:pt x="724" y="501"/>
                    </a:lnTo>
                    <a:lnTo>
                      <a:pt x="715" y="495"/>
                    </a:lnTo>
                    <a:lnTo>
                      <a:pt x="707" y="491"/>
                    </a:lnTo>
                    <a:lnTo>
                      <a:pt x="703" y="487"/>
                    </a:lnTo>
                    <a:lnTo>
                      <a:pt x="690" y="480"/>
                    </a:lnTo>
                    <a:lnTo>
                      <a:pt x="687" y="480"/>
                    </a:lnTo>
                    <a:lnTo>
                      <a:pt x="686" y="484"/>
                    </a:lnTo>
                    <a:lnTo>
                      <a:pt x="681" y="484"/>
                    </a:lnTo>
                    <a:lnTo>
                      <a:pt x="676" y="480"/>
                    </a:lnTo>
                    <a:lnTo>
                      <a:pt x="675" y="474"/>
                    </a:lnTo>
                    <a:lnTo>
                      <a:pt x="670" y="469"/>
                    </a:lnTo>
                    <a:lnTo>
                      <a:pt x="659" y="468"/>
                    </a:lnTo>
                    <a:lnTo>
                      <a:pt x="658" y="465"/>
                    </a:lnTo>
                    <a:lnTo>
                      <a:pt x="659" y="458"/>
                    </a:lnTo>
                    <a:lnTo>
                      <a:pt x="664" y="450"/>
                    </a:lnTo>
                    <a:lnTo>
                      <a:pt x="667" y="449"/>
                    </a:lnTo>
                    <a:lnTo>
                      <a:pt x="669" y="442"/>
                    </a:lnTo>
                    <a:lnTo>
                      <a:pt x="672" y="438"/>
                    </a:lnTo>
                    <a:lnTo>
                      <a:pt x="669" y="429"/>
                    </a:lnTo>
                    <a:lnTo>
                      <a:pt x="672" y="422"/>
                    </a:lnTo>
                    <a:lnTo>
                      <a:pt x="677" y="416"/>
                    </a:lnTo>
                    <a:lnTo>
                      <a:pt x="675" y="409"/>
                    </a:lnTo>
                    <a:lnTo>
                      <a:pt x="675" y="405"/>
                    </a:lnTo>
                    <a:lnTo>
                      <a:pt x="679" y="400"/>
                    </a:lnTo>
                    <a:lnTo>
                      <a:pt x="685" y="400"/>
                    </a:lnTo>
                    <a:lnTo>
                      <a:pt x="688" y="393"/>
                    </a:lnTo>
                    <a:lnTo>
                      <a:pt x="696" y="388"/>
                    </a:lnTo>
                    <a:lnTo>
                      <a:pt x="699" y="382"/>
                    </a:lnTo>
                    <a:lnTo>
                      <a:pt x="701" y="377"/>
                    </a:lnTo>
                    <a:lnTo>
                      <a:pt x="703" y="375"/>
                    </a:lnTo>
                    <a:lnTo>
                      <a:pt x="706" y="377"/>
                    </a:lnTo>
                    <a:lnTo>
                      <a:pt x="712" y="375"/>
                    </a:lnTo>
                    <a:lnTo>
                      <a:pt x="709" y="374"/>
                    </a:lnTo>
                    <a:lnTo>
                      <a:pt x="692" y="369"/>
                    </a:lnTo>
                    <a:lnTo>
                      <a:pt x="690" y="367"/>
                    </a:lnTo>
                    <a:lnTo>
                      <a:pt x="686" y="361"/>
                    </a:lnTo>
                    <a:lnTo>
                      <a:pt x="681" y="359"/>
                    </a:lnTo>
                    <a:lnTo>
                      <a:pt x="669" y="350"/>
                    </a:lnTo>
                    <a:lnTo>
                      <a:pt x="663" y="350"/>
                    </a:lnTo>
                    <a:lnTo>
                      <a:pt x="656" y="346"/>
                    </a:lnTo>
                    <a:lnTo>
                      <a:pt x="654" y="342"/>
                    </a:lnTo>
                    <a:lnTo>
                      <a:pt x="654" y="339"/>
                    </a:lnTo>
                    <a:lnTo>
                      <a:pt x="651" y="335"/>
                    </a:lnTo>
                    <a:lnTo>
                      <a:pt x="647" y="335"/>
                    </a:lnTo>
                    <a:lnTo>
                      <a:pt x="645" y="332"/>
                    </a:lnTo>
                    <a:lnTo>
                      <a:pt x="640" y="330"/>
                    </a:lnTo>
                    <a:lnTo>
                      <a:pt x="632" y="334"/>
                    </a:lnTo>
                    <a:lnTo>
                      <a:pt x="631" y="332"/>
                    </a:lnTo>
                    <a:lnTo>
                      <a:pt x="629" y="326"/>
                    </a:lnTo>
                    <a:lnTo>
                      <a:pt x="628" y="325"/>
                    </a:lnTo>
                    <a:lnTo>
                      <a:pt x="624" y="324"/>
                    </a:lnTo>
                    <a:lnTo>
                      <a:pt x="621" y="325"/>
                    </a:lnTo>
                    <a:lnTo>
                      <a:pt x="612" y="324"/>
                    </a:lnTo>
                    <a:lnTo>
                      <a:pt x="608" y="325"/>
                    </a:lnTo>
                    <a:lnTo>
                      <a:pt x="602" y="329"/>
                    </a:lnTo>
                    <a:lnTo>
                      <a:pt x="599" y="329"/>
                    </a:lnTo>
                    <a:lnTo>
                      <a:pt x="596" y="326"/>
                    </a:lnTo>
                    <a:lnTo>
                      <a:pt x="597" y="316"/>
                    </a:lnTo>
                    <a:lnTo>
                      <a:pt x="593" y="313"/>
                    </a:lnTo>
                    <a:lnTo>
                      <a:pt x="589" y="307"/>
                    </a:lnTo>
                    <a:lnTo>
                      <a:pt x="589" y="304"/>
                    </a:lnTo>
                    <a:lnTo>
                      <a:pt x="584" y="299"/>
                    </a:lnTo>
                    <a:lnTo>
                      <a:pt x="584" y="294"/>
                    </a:lnTo>
                    <a:lnTo>
                      <a:pt x="586" y="287"/>
                    </a:lnTo>
                    <a:lnTo>
                      <a:pt x="583" y="281"/>
                    </a:lnTo>
                    <a:lnTo>
                      <a:pt x="583" y="277"/>
                    </a:lnTo>
                    <a:lnTo>
                      <a:pt x="584" y="270"/>
                    </a:lnTo>
                    <a:lnTo>
                      <a:pt x="586" y="264"/>
                    </a:lnTo>
                    <a:lnTo>
                      <a:pt x="579" y="254"/>
                    </a:lnTo>
                    <a:lnTo>
                      <a:pt x="572" y="246"/>
                    </a:lnTo>
                    <a:lnTo>
                      <a:pt x="572" y="237"/>
                    </a:lnTo>
                    <a:lnTo>
                      <a:pt x="569" y="229"/>
                    </a:lnTo>
                    <a:lnTo>
                      <a:pt x="570" y="226"/>
                    </a:lnTo>
                    <a:lnTo>
                      <a:pt x="581" y="224"/>
                    </a:lnTo>
                    <a:lnTo>
                      <a:pt x="584" y="221"/>
                    </a:lnTo>
                    <a:lnTo>
                      <a:pt x="585" y="222"/>
                    </a:lnTo>
                    <a:lnTo>
                      <a:pt x="586" y="229"/>
                    </a:lnTo>
                    <a:lnTo>
                      <a:pt x="589" y="234"/>
                    </a:lnTo>
                    <a:lnTo>
                      <a:pt x="591" y="237"/>
                    </a:lnTo>
                    <a:lnTo>
                      <a:pt x="599" y="239"/>
                    </a:lnTo>
                    <a:lnTo>
                      <a:pt x="601" y="238"/>
                    </a:lnTo>
                    <a:lnTo>
                      <a:pt x="604" y="237"/>
                    </a:lnTo>
                    <a:lnTo>
                      <a:pt x="607" y="238"/>
                    </a:lnTo>
                    <a:lnTo>
                      <a:pt x="608" y="232"/>
                    </a:lnTo>
                    <a:lnTo>
                      <a:pt x="612" y="229"/>
                    </a:lnTo>
                    <a:lnTo>
                      <a:pt x="616" y="223"/>
                    </a:lnTo>
                    <a:lnTo>
                      <a:pt x="617" y="223"/>
                    </a:lnTo>
                    <a:lnTo>
                      <a:pt x="621" y="228"/>
                    </a:lnTo>
                    <a:lnTo>
                      <a:pt x="623" y="228"/>
                    </a:lnTo>
                    <a:lnTo>
                      <a:pt x="632" y="217"/>
                    </a:lnTo>
                    <a:lnTo>
                      <a:pt x="632" y="215"/>
                    </a:lnTo>
                    <a:lnTo>
                      <a:pt x="628" y="208"/>
                    </a:lnTo>
                    <a:lnTo>
                      <a:pt x="622" y="200"/>
                    </a:lnTo>
                    <a:lnTo>
                      <a:pt x="621" y="195"/>
                    </a:lnTo>
                    <a:lnTo>
                      <a:pt x="622" y="192"/>
                    </a:lnTo>
                    <a:lnTo>
                      <a:pt x="622" y="189"/>
                    </a:lnTo>
                    <a:lnTo>
                      <a:pt x="612" y="184"/>
                    </a:lnTo>
                    <a:lnTo>
                      <a:pt x="607" y="185"/>
                    </a:lnTo>
                    <a:lnTo>
                      <a:pt x="606" y="181"/>
                    </a:lnTo>
                    <a:lnTo>
                      <a:pt x="597" y="174"/>
                    </a:lnTo>
                    <a:lnTo>
                      <a:pt x="597" y="159"/>
                    </a:lnTo>
                    <a:lnTo>
                      <a:pt x="602" y="158"/>
                    </a:lnTo>
                    <a:lnTo>
                      <a:pt x="600" y="152"/>
                    </a:lnTo>
                    <a:lnTo>
                      <a:pt x="601" y="149"/>
                    </a:lnTo>
                    <a:lnTo>
                      <a:pt x="602" y="148"/>
                    </a:lnTo>
                    <a:lnTo>
                      <a:pt x="595" y="141"/>
                    </a:lnTo>
                    <a:lnTo>
                      <a:pt x="596" y="135"/>
                    </a:lnTo>
                    <a:lnTo>
                      <a:pt x="596" y="133"/>
                    </a:lnTo>
                    <a:lnTo>
                      <a:pt x="606" y="133"/>
                    </a:lnTo>
                    <a:lnTo>
                      <a:pt x="610" y="130"/>
                    </a:lnTo>
                    <a:lnTo>
                      <a:pt x="621" y="133"/>
                    </a:lnTo>
                    <a:lnTo>
                      <a:pt x="623" y="131"/>
                    </a:lnTo>
                    <a:lnTo>
                      <a:pt x="628" y="126"/>
                    </a:lnTo>
                    <a:lnTo>
                      <a:pt x="633" y="116"/>
                    </a:lnTo>
                    <a:lnTo>
                      <a:pt x="633" y="105"/>
                    </a:lnTo>
                    <a:lnTo>
                      <a:pt x="643" y="104"/>
                    </a:lnTo>
                    <a:lnTo>
                      <a:pt x="644" y="103"/>
                    </a:lnTo>
                    <a:lnTo>
                      <a:pt x="642" y="100"/>
                    </a:lnTo>
                    <a:lnTo>
                      <a:pt x="643" y="97"/>
                    </a:lnTo>
                    <a:lnTo>
                      <a:pt x="647" y="94"/>
                    </a:lnTo>
                    <a:lnTo>
                      <a:pt x="648" y="92"/>
                    </a:lnTo>
                    <a:lnTo>
                      <a:pt x="651" y="88"/>
                    </a:lnTo>
                    <a:lnTo>
                      <a:pt x="658" y="83"/>
                    </a:lnTo>
                    <a:lnTo>
                      <a:pt x="658" y="77"/>
                    </a:lnTo>
                    <a:lnTo>
                      <a:pt x="664" y="71"/>
                    </a:lnTo>
                    <a:lnTo>
                      <a:pt x="666" y="52"/>
                    </a:lnTo>
                    <a:lnTo>
                      <a:pt x="669" y="50"/>
                    </a:lnTo>
                    <a:lnTo>
                      <a:pt x="669" y="43"/>
                    </a:lnTo>
                    <a:lnTo>
                      <a:pt x="675" y="35"/>
                    </a:lnTo>
                    <a:lnTo>
                      <a:pt x="675" y="32"/>
                    </a:lnTo>
                    <a:lnTo>
                      <a:pt x="671" y="29"/>
                    </a:lnTo>
                    <a:lnTo>
                      <a:pt x="667" y="29"/>
                    </a:lnTo>
                    <a:lnTo>
                      <a:pt x="660" y="38"/>
                    </a:lnTo>
                    <a:lnTo>
                      <a:pt x="658" y="38"/>
                    </a:lnTo>
                    <a:lnTo>
                      <a:pt x="655" y="34"/>
                    </a:lnTo>
                    <a:lnTo>
                      <a:pt x="653" y="23"/>
                    </a:lnTo>
                    <a:lnTo>
                      <a:pt x="648" y="27"/>
                    </a:lnTo>
                    <a:lnTo>
                      <a:pt x="644" y="27"/>
                    </a:lnTo>
                    <a:lnTo>
                      <a:pt x="642" y="22"/>
                    </a:lnTo>
                    <a:lnTo>
                      <a:pt x="639" y="22"/>
                    </a:lnTo>
                    <a:lnTo>
                      <a:pt x="637" y="20"/>
                    </a:lnTo>
                    <a:lnTo>
                      <a:pt x="636" y="11"/>
                    </a:lnTo>
                    <a:lnTo>
                      <a:pt x="632" y="9"/>
                    </a:lnTo>
                    <a:lnTo>
                      <a:pt x="631" y="7"/>
                    </a:lnTo>
                    <a:lnTo>
                      <a:pt x="628" y="6"/>
                    </a:lnTo>
                    <a:lnTo>
                      <a:pt x="624" y="6"/>
                    </a:lnTo>
                    <a:lnTo>
                      <a:pt x="621" y="1"/>
                    </a:lnTo>
                    <a:lnTo>
                      <a:pt x="618" y="0"/>
                    </a:lnTo>
                    <a:lnTo>
                      <a:pt x="615" y="0"/>
                    </a:lnTo>
                    <a:lnTo>
                      <a:pt x="610" y="2"/>
                    </a:lnTo>
                    <a:lnTo>
                      <a:pt x="604" y="2"/>
                    </a:lnTo>
                    <a:lnTo>
                      <a:pt x="599" y="6"/>
                    </a:lnTo>
                    <a:lnTo>
                      <a:pt x="585" y="6"/>
                    </a:lnTo>
                    <a:lnTo>
                      <a:pt x="575" y="13"/>
                    </a:lnTo>
                    <a:lnTo>
                      <a:pt x="564" y="19"/>
                    </a:lnTo>
                    <a:lnTo>
                      <a:pt x="557" y="24"/>
                    </a:lnTo>
                    <a:lnTo>
                      <a:pt x="552" y="29"/>
                    </a:lnTo>
                    <a:lnTo>
                      <a:pt x="547" y="30"/>
                    </a:lnTo>
                    <a:lnTo>
                      <a:pt x="543" y="35"/>
                    </a:lnTo>
                    <a:lnTo>
                      <a:pt x="536" y="32"/>
                    </a:lnTo>
                    <a:lnTo>
                      <a:pt x="531" y="35"/>
                    </a:lnTo>
                    <a:lnTo>
                      <a:pt x="526" y="35"/>
                    </a:lnTo>
                    <a:lnTo>
                      <a:pt x="492" y="60"/>
                    </a:lnTo>
                    <a:lnTo>
                      <a:pt x="488" y="66"/>
                    </a:lnTo>
                    <a:lnTo>
                      <a:pt x="489" y="68"/>
                    </a:lnTo>
                    <a:lnTo>
                      <a:pt x="489" y="71"/>
                    </a:lnTo>
                    <a:lnTo>
                      <a:pt x="486" y="79"/>
                    </a:lnTo>
                    <a:lnTo>
                      <a:pt x="482" y="83"/>
                    </a:lnTo>
                    <a:lnTo>
                      <a:pt x="478" y="82"/>
                    </a:lnTo>
                    <a:lnTo>
                      <a:pt x="475" y="78"/>
                    </a:lnTo>
                    <a:lnTo>
                      <a:pt x="456" y="79"/>
                    </a:lnTo>
                    <a:lnTo>
                      <a:pt x="454" y="81"/>
                    </a:lnTo>
                    <a:lnTo>
                      <a:pt x="449" y="87"/>
                    </a:lnTo>
                    <a:lnTo>
                      <a:pt x="446" y="88"/>
                    </a:lnTo>
                    <a:lnTo>
                      <a:pt x="440" y="88"/>
                    </a:lnTo>
                    <a:lnTo>
                      <a:pt x="433" y="86"/>
                    </a:lnTo>
                    <a:lnTo>
                      <a:pt x="429" y="88"/>
                    </a:lnTo>
                    <a:lnTo>
                      <a:pt x="427" y="92"/>
                    </a:lnTo>
                    <a:lnTo>
                      <a:pt x="423" y="94"/>
                    </a:lnTo>
                    <a:lnTo>
                      <a:pt x="421" y="95"/>
                    </a:lnTo>
                    <a:lnTo>
                      <a:pt x="414" y="94"/>
                    </a:lnTo>
                    <a:lnTo>
                      <a:pt x="411" y="95"/>
                    </a:lnTo>
                    <a:lnTo>
                      <a:pt x="407" y="93"/>
                    </a:lnTo>
                    <a:lnTo>
                      <a:pt x="395" y="93"/>
                    </a:lnTo>
                    <a:lnTo>
                      <a:pt x="390" y="92"/>
                    </a:lnTo>
                    <a:lnTo>
                      <a:pt x="385" y="92"/>
                    </a:lnTo>
                    <a:lnTo>
                      <a:pt x="370" y="83"/>
                    </a:lnTo>
                    <a:lnTo>
                      <a:pt x="360" y="81"/>
                    </a:lnTo>
                    <a:lnTo>
                      <a:pt x="342" y="73"/>
                    </a:lnTo>
                    <a:lnTo>
                      <a:pt x="337" y="76"/>
                    </a:lnTo>
                    <a:lnTo>
                      <a:pt x="333" y="79"/>
                    </a:lnTo>
                    <a:lnTo>
                      <a:pt x="326" y="78"/>
                    </a:lnTo>
                    <a:lnTo>
                      <a:pt x="322" y="79"/>
                    </a:lnTo>
                    <a:lnTo>
                      <a:pt x="321" y="82"/>
                    </a:lnTo>
                    <a:lnTo>
                      <a:pt x="320" y="90"/>
                    </a:lnTo>
                    <a:lnTo>
                      <a:pt x="312" y="104"/>
                    </a:lnTo>
                    <a:lnTo>
                      <a:pt x="312" y="106"/>
                    </a:lnTo>
                    <a:lnTo>
                      <a:pt x="321" y="106"/>
                    </a:lnTo>
                    <a:lnTo>
                      <a:pt x="323" y="111"/>
                    </a:lnTo>
                    <a:lnTo>
                      <a:pt x="323" y="115"/>
                    </a:lnTo>
                    <a:lnTo>
                      <a:pt x="319" y="117"/>
                    </a:lnTo>
                    <a:lnTo>
                      <a:pt x="317" y="119"/>
                    </a:lnTo>
                    <a:lnTo>
                      <a:pt x="317" y="122"/>
                    </a:lnTo>
                    <a:lnTo>
                      <a:pt x="320" y="126"/>
                    </a:lnTo>
                    <a:lnTo>
                      <a:pt x="322" y="127"/>
                    </a:lnTo>
                    <a:lnTo>
                      <a:pt x="333" y="126"/>
                    </a:lnTo>
                    <a:lnTo>
                      <a:pt x="336" y="129"/>
                    </a:lnTo>
                    <a:lnTo>
                      <a:pt x="337" y="132"/>
                    </a:lnTo>
                    <a:lnTo>
                      <a:pt x="337" y="133"/>
                    </a:lnTo>
                    <a:lnTo>
                      <a:pt x="332" y="138"/>
                    </a:lnTo>
                    <a:lnTo>
                      <a:pt x="326" y="141"/>
                    </a:lnTo>
                    <a:lnTo>
                      <a:pt x="325" y="147"/>
                    </a:lnTo>
                    <a:lnTo>
                      <a:pt x="337" y="158"/>
                    </a:lnTo>
                    <a:lnTo>
                      <a:pt x="337" y="164"/>
                    </a:lnTo>
                    <a:lnTo>
                      <a:pt x="336" y="169"/>
                    </a:lnTo>
                    <a:lnTo>
                      <a:pt x="322" y="178"/>
                    </a:lnTo>
                    <a:lnTo>
                      <a:pt x="321" y="181"/>
                    </a:lnTo>
                    <a:lnTo>
                      <a:pt x="330" y="185"/>
                    </a:lnTo>
                    <a:lnTo>
                      <a:pt x="333" y="194"/>
                    </a:lnTo>
                    <a:lnTo>
                      <a:pt x="343" y="200"/>
                    </a:lnTo>
                    <a:lnTo>
                      <a:pt x="342" y="207"/>
                    </a:lnTo>
                    <a:lnTo>
                      <a:pt x="349" y="208"/>
                    </a:lnTo>
                    <a:lnTo>
                      <a:pt x="352" y="212"/>
                    </a:lnTo>
                    <a:lnTo>
                      <a:pt x="358" y="210"/>
                    </a:lnTo>
                    <a:lnTo>
                      <a:pt x="363" y="211"/>
                    </a:lnTo>
                    <a:lnTo>
                      <a:pt x="363" y="216"/>
                    </a:lnTo>
                    <a:lnTo>
                      <a:pt x="362" y="222"/>
                    </a:lnTo>
                    <a:lnTo>
                      <a:pt x="365" y="229"/>
                    </a:lnTo>
                    <a:lnTo>
                      <a:pt x="366" y="230"/>
                    </a:lnTo>
                    <a:lnTo>
                      <a:pt x="384" y="232"/>
                    </a:lnTo>
                    <a:lnTo>
                      <a:pt x="389" y="235"/>
                    </a:lnTo>
                    <a:lnTo>
                      <a:pt x="394" y="234"/>
                    </a:lnTo>
                    <a:lnTo>
                      <a:pt x="400" y="242"/>
                    </a:lnTo>
                    <a:lnTo>
                      <a:pt x="398" y="246"/>
                    </a:lnTo>
                    <a:lnTo>
                      <a:pt x="401" y="250"/>
                    </a:lnTo>
                    <a:lnTo>
                      <a:pt x="396" y="255"/>
                    </a:lnTo>
                    <a:lnTo>
                      <a:pt x="394" y="259"/>
                    </a:lnTo>
                    <a:lnTo>
                      <a:pt x="386" y="260"/>
                    </a:lnTo>
                    <a:lnTo>
                      <a:pt x="382" y="260"/>
                    </a:lnTo>
                    <a:lnTo>
                      <a:pt x="380" y="259"/>
                    </a:lnTo>
                    <a:lnTo>
                      <a:pt x="375" y="260"/>
                    </a:lnTo>
                    <a:lnTo>
                      <a:pt x="373" y="262"/>
                    </a:lnTo>
                    <a:lnTo>
                      <a:pt x="362" y="267"/>
                    </a:lnTo>
                    <a:lnTo>
                      <a:pt x="358" y="275"/>
                    </a:lnTo>
                    <a:lnTo>
                      <a:pt x="357" y="286"/>
                    </a:lnTo>
                    <a:lnTo>
                      <a:pt x="362" y="292"/>
                    </a:lnTo>
                    <a:lnTo>
                      <a:pt x="360" y="297"/>
                    </a:lnTo>
                    <a:lnTo>
                      <a:pt x="363" y="298"/>
                    </a:lnTo>
                    <a:lnTo>
                      <a:pt x="364" y="301"/>
                    </a:lnTo>
                    <a:lnTo>
                      <a:pt x="363" y="304"/>
                    </a:lnTo>
                    <a:lnTo>
                      <a:pt x="358" y="308"/>
                    </a:lnTo>
                    <a:lnTo>
                      <a:pt x="357" y="314"/>
                    </a:lnTo>
                    <a:lnTo>
                      <a:pt x="357" y="316"/>
                    </a:lnTo>
                    <a:lnTo>
                      <a:pt x="359" y="318"/>
                    </a:lnTo>
                    <a:lnTo>
                      <a:pt x="369" y="318"/>
                    </a:lnTo>
                    <a:lnTo>
                      <a:pt x="371" y="324"/>
                    </a:lnTo>
                    <a:lnTo>
                      <a:pt x="369" y="326"/>
                    </a:lnTo>
                    <a:lnTo>
                      <a:pt x="365" y="328"/>
                    </a:lnTo>
                    <a:lnTo>
                      <a:pt x="362" y="326"/>
                    </a:lnTo>
                    <a:lnTo>
                      <a:pt x="359" y="324"/>
                    </a:lnTo>
                    <a:lnTo>
                      <a:pt x="357" y="331"/>
                    </a:lnTo>
                    <a:lnTo>
                      <a:pt x="343" y="336"/>
                    </a:lnTo>
                    <a:lnTo>
                      <a:pt x="331" y="352"/>
                    </a:lnTo>
                    <a:lnTo>
                      <a:pt x="326" y="355"/>
                    </a:lnTo>
                    <a:lnTo>
                      <a:pt x="321" y="361"/>
                    </a:lnTo>
                    <a:lnTo>
                      <a:pt x="317" y="366"/>
                    </a:lnTo>
                    <a:lnTo>
                      <a:pt x="316" y="372"/>
                    </a:lnTo>
                    <a:lnTo>
                      <a:pt x="317" y="380"/>
                    </a:lnTo>
                    <a:lnTo>
                      <a:pt x="314" y="388"/>
                    </a:lnTo>
                    <a:lnTo>
                      <a:pt x="305" y="393"/>
                    </a:lnTo>
                    <a:lnTo>
                      <a:pt x="298" y="393"/>
                    </a:lnTo>
                    <a:lnTo>
                      <a:pt x="292" y="398"/>
                    </a:lnTo>
                    <a:lnTo>
                      <a:pt x="287" y="406"/>
                    </a:lnTo>
                    <a:lnTo>
                      <a:pt x="283" y="417"/>
                    </a:lnTo>
                    <a:lnTo>
                      <a:pt x="277" y="428"/>
                    </a:lnTo>
                    <a:lnTo>
                      <a:pt x="262" y="450"/>
                    </a:lnTo>
                    <a:lnTo>
                      <a:pt x="256" y="457"/>
                    </a:lnTo>
                    <a:lnTo>
                      <a:pt x="244" y="464"/>
                    </a:lnTo>
                    <a:lnTo>
                      <a:pt x="233" y="474"/>
                    </a:lnTo>
                    <a:lnTo>
                      <a:pt x="229" y="479"/>
                    </a:lnTo>
                    <a:lnTo>
                      <a:pt x="219" y="495"/>
                    </a:lnTo>
                    <a:lnTo>
                      <a:pt x="212" y="504"/>
                    </a:lnTo>
                    <a:lnTo>
                      <a:pt x="204" y="519"/>
                    </a:lnTo>
                    <a:lnTo>
                      <a:pt x="199" y="522"/>
                    </a:lnTo>
                    <a:lnTo>
                      <a:pt x="195" y="523"/>
                    </a:lnTo>
                    <a:lnTo>
                      <a:pt x="172" y="523"/>
                    </a:lnTo>
                    <a:lnTo>
                      <a:pt x="169" y="524"/>
                    </a:lnTo>
                    <a:lnTo>
                      <a:pt x="161" y="527"/>
                    </a:lnTo>
                    <a:lnTo>
                      <a:pt x="156" y="533"/>
                    </a:lnTo>
                    <a:lnTo>
                      <a:pt x="152" y="534"/>
                    </a:lnTo>
                    <a:lnTo>
                      <a:pt x="149" y="533"/>
                    </a:lnTo>
                    <a:lnTo>
                      <a:pt x="147" y="528"/>
                    </a:lnTo>
                    <a:lnTo>
                      <a:pt x="139" y="514"/>
                    </a:lnTo>
                    <a:lnTo>
                      <a:pt x="136" y="512"/>
                    </a:lnTo>
                    <a:lnTo>
                      <a:pt x="132" y="513"/>
                    </a:lnTo>
                    <a:lnTo>
                      <a:pt x="122" y="522"/>
                    </a:lnTo>
                    <a:lnTo>
                      <a:pt x="118" y="528"/>
                    </a:lnTo>
                    <a:lnTo>
                      <a:pt x="107" y="538"/>
                    </a:lnTo>
                    <a:lnTo>
                      <a:pt x="93" y="556"/>
                    </a:lnTo>
                    <a:lnTo>
                      <a:pt x="85" y="563"/>
                    </a:lnTo>
                    <a:lnTo>
                      <a:pt x="83" y="570"/>
                    </a:lnTo>
                    <a:lnTo>
                      <a:pt x="79" y="588"/>
                    </a:lnTo>
                    <a:lnTo>
                      <a:pt x="79" y="593"/>
                    </a:lnTo>
                    <a:lnTo>
                      <a:pt x="81" y="598"/>
                    </a:lnTo>
                    <a:lnTo>
                      <a:pt x="88" y="601"/>
                    </a:lnTo>
                    <a:lnTo>
                      <a:pt x="94" y="600"/>
                    </a:lnTo>
                    <a:lnTo>
                      <a:pt x="101" y="603"/>
                    </a:lnTo>
                    <a:lnTo>
                      <a:pt x="111" y="603"/>
                    </a:lnTo>
                    <a:lnTo>
                      <a:pt x="113" y="604"/>
                    </a:lnTo>
                    <a:lnTo>
                      <a:pt x="117" y="608"/>
                    </a:lnTo>
                    <a:lnTo>
                      <a:pt x="118" y="611"/>
                    </a:lnTo>
                    <a:lnTo>
                      <a:pt x="118" y="616"/>
                    </a:lnTo>
                    <a:lnTo>
                      <a:pt x="112" y="636"/>
                    </a:lnTo>
                    <a:lnTo>
                      <a:pt x="112" y="641"/>
                    </a:lnTo>
                    <a:lnTo>
                      <a:pt x="113" y="646"/>
                    </a:lnTo>
                    <a:lnTo>
                      <a:pt x="123" y="657"/>
                    </a:lnTo>
                    <a:lnTo>
                      <a:pt x="127" y="658"/>
                    </a:lnTo>
                    <a:lnTo>
                      <a:pt x="137" y="654"/>
                    </a:lnTo>
                    <a:lnTo>
                      <a:pt x="139" y="655"/>
                    </a:lnTo>
                    <a:lnTo>
                      <a:pt x="142" y="658"/>
                    </a:lnTo>
                    <a:lnTo>
                      <a:pt x="142" y="669"/>
                    </a:lnTo>
                    <a:lnTo>
                      <a:pt x="143" y="678"/>
                    </a:lnTo>
                    <a:lnTo>
                      <a:pt x="148" y="685"/>
                    </a:lnTo>
                    <a:lnTo>
                      <a:pt x="150" y="692"/>
                    </a:lnTo>
                    <a:lnTo>
                      <a:pt x="155" y="698"/>
                    </a:lnTo>
                    <a:lnTo>
                      <a:pt x="160" y="703"/>
                    </a:lnTo>
                    <a:lnTo>
                      <a:pt x="160" y="706"/>
                    </a:lnTo>
                    <a:lnTo>
                      <a:pt x="164" y="711"/>
                    </a:lnTo>
                    <a:lnTo>
                      <a:pt x="165" y="714"/>
                    </a:lnTo>
                    <a:lnTo>
                      <a:pt x="160" y="716"/>
                    </a:lnTo>
                    <a:lnTo>
                      <a:pt x="160" y="718"/>
                    </a:lnTo>
                    <a:lnTo>
                      <a:pt x="160" y="728"/>
                    </a:lnTo>
                    <a:lnTo>
                      <a:pt x="159" y="732"/>
                    </a:lnTo>
                    <a:lnTo>
                      <a:pt x="166" y="733"/>
                    </a:lnTo>
                    <a:lnTo>
                      <a:pt x="166" y="735"/>
                    </a:lnTo>
                    <a:lnTo>
                      <a:pt x="159" y="735"/>
                    </a:lnTo>
                    <a:lnTo>
                      <a:pt x="154" y="739"/>
                    </a:lnTo>
                    <a:lnTo>
                      <a:pt x="154" y="741"/>
                    </a:lnTo>
                    <a:lnTo>
                      <a:pt x="150" y="743"/>
                    </a:lnTo>
                    <a:lnTo>
                      <a:pt x="147" y="743"/>
                    </a:lnTo>
                    <a:lnTo>
                      <a:pt x="140" y="743"/>
                    </a:lnTo>
                    <a:lnTo>
                      <a:pt x="139" y="740"/>
                    </a:lnTo>
                    <a:lnTo>
                      <a:pt x="138" y="739"/>
                    </a:lnTo>
                    <a:lnTo>
                      <a:pt x="139" y="733"/>
                    </a:lnTo>
                    <a:lnTo>
                      <a:pt x="139" y="732"/>
                    </a:lnTo>
                    <a:lnTo>
                      <a:pt x="132" y="730"/>
                    </a:lnTo>
                    <a:lnTo>
                      <a:pt x="127" y="734"/>
                    </a:lnTo>
                    <a:lnTo>
                      <a:pt x="115" y="738"/>
                    </a:lnTo>
                    <a:lnTo>
                      <a:pt x="111" y="745"/>
                    </a:lnTo>
                    <a:lnTo>
                      <a:pt x="110" y="746"/>
                    </a:lnTo>
                    <a:lnTo>
                      <a:pt x="107" y="746"/>
                    </a:lnTo>
                    <a:lnTo>
                      <a:pt x="93" y="746"/>
                    </a:lnTo>
                    <a:lnTo>
                      <a:pt x="84" y="739"/>
                    </a:lnTo>
                    <a:lnTo>
                      <a:pt x="78" y="741"/>
                    </a:lnTo>
                    <a:lnTo>
                      <a:pt x="74" y="739"/>
                    </a:lnTo>
                    <a:lnTo>
                      <a:pt x="62" y="740"/>
                    </a:lnTo>
                    <a:lnTo>
                      <a:pt x="58" y="739"/>
                    </a:lnTo>
                    <a:lnTo>
                      <a:pt x="52" y="740"/>
                    </a:lnTo>
                    <a:lnTo>
                      <a:pt x="48" y="739"/>
                    </a:lnTo>
                    <a:lnTo>
                      <a:pt x="47" y="740"/>
                    </a:lnTo>
                    <a:lnTo>
                      <a:pt x="46" y="740"/>
                    </a:lnTo>
                    <a:lnTo>
                      <a:pt x="43" y="735"/>
                    </a:lnTo>
                    <a:lnTo>
                      <a:pt x="41" y="735"/>
                    </a:lnTo>
                    <a:lnTo>
                      <a:pt x="40" y="740"/>
                    </a:lnTo>
                    <a:lnTo>
                      <a:pt x="40" y="757"/>
                    </a:lnTo>
                    <a:lnTo>
                      <a:pt x="20" y="757"/>
                    </a:lnTo>
                    <a:lnTo>
                      <a:pt x="16" y="759"/>
                    </a:lnTo>
                    <a:lnTo>
                      <a:pt x="11" y="757"/>
                    </a:lnTo>
                    <a:lnTo>
                      <a:pt x="9" y="762"/>
                    </a:lnTo>
                    <a:lnTo>
                      <a:pt x="7" y="764"/>
                    </a:lnTo>
                    <a:lnTo>
                      <a:pt x="5" y="767"/>
                    </a:lnTo>
                    <a:lnTo>
                      <a:pt x="0" y="771"/>
                    </a:lnTo>
                    <a:lnTo>
                      <a:pt x="0" y="773"/>
                    </a:lnTo>
                    <a:lnTo>
                      <a:pt x="2" y="782"/>
                    </a:lnTo>
                    <a:lnTo>
                      <a:pt x="9" y="782"/>
                    </a:lnTo>
                    <a:lnTo>
                      <a:pt x="13" y="791"/>
                    </a:lnTo>
                    <a:lnTo>
                      <a:pt x="27" y="809"/>
                    </a:lnTo>
                    <a:lnTo>
                      <a:pt x="37" y="820"/>
                    </a:lnTo>
                    <a:lnTo>
                      <a:pt x="47" y="825"/>
                    </a:lnTo>
                    <a:lnTo>
                      <a:pt x="67" y="827"/>
                    </a:lnTo>
                    <a:lnTo>
                      <a:pt x="89" y="825"/>
                    </a:lnTo>
                    <a:lnTo>
                      <a:pt x="105" y="821"/>
                    </a:lnTo>
                    <a:lnTo>
                      <a:pt x="113" y="818"/>
                    </a:lnTo>
                    <a:lnTo>
                      <a:pt x="117" y="810"/>
                    </a:lnTo>
                    <a:lnTo>
                      <a:pt x="122" y="808"/>
                    </a:lnTo>
                    <a:lnTo>
                      <a:pt x="124" y="814"/>
                    </a:lnTo>
                    <a:lnTo>
                      <a:pt x="117" y="834"/>
                    </a:lnTo>
                    <a:lnTo>
                      <a:pt x="106" y="843"/>
                    </a:lnTo>
                    <a:lnTo>
                      <a:pt x="96" y="850"/>
                    </a:lnTo>
                    <a:lnTo>
                      <a:pt x="84" y="852"/>
                    </a:lnTo>
                    <a:lnTo>
                      <a:pt x="70" y="854"/>
                    </a:lnTo>
                    <a:lnTo>
                      <a:pt x="59" y="857"/>
                    </a:lnTo>
                    <a:lnTo>
                      <a:pt x="51" y="850"/>
                    </a:lnTo>
                    <a:lnTo>
                      <a:pt x="47" y="854"/>
                    </a:lnTo>
                    <a:lnTo>
                      <a:pt x="50" y="870"/>
                    </a:lnTo>
                    <a:lnTo>
                      <a:pt x="90" y="911"/>
                    </a:lnTo>
                    <a:lnTo>
                      <a:pt x="104" y="926"/>
                    </a:lnTo>
                    <a:lnTo>
                      <a:pt x="124" y="944"/>
                    </a:lnTo>
                    <a:lnTo>
                      <a:pt x="131" y="945"/>
                    </a:lnTo>
                    <a:lnTo>
                      <a:pt x="156" y="947"/>
                    </a:lnTo>
                    <a:lnTo>
                      <a:pt x="167" y="944"/>
                    </a:lnTo>
                    <a:lnTo>
                      <a:pt x="174" y="943"/>
                    </a:lnTo>
                    <a:lnTo>
                      <a:pt x="183" y="936"/>
                    </a:lnTo>
                    <a:lnTo>
                      <a:pt x="190" y="936"/>
                    </a:lnTo>
                    <a:lnTo>
                      <a:pt x="207" y="924"/>
                    </a:lnTo>
                    <a:lnTo>
                      <a:pt x="213" y="916"/>
                    </a:lnTo>
                    <a:lnTo>
                      <a:pt x="218" y="906"/>
                    </a:lnTo>
                    <a:lnTo>
                      <a:pt x="219" y="879"/>
                    </a:lnTo>
                    <a:lnTo>
                      <a:pt x="222" y="867"/>
                    </a:lnTo>
                    <a:lnTo>
                      <a:pt x="224" y="852"/>
                    </a:lnTo>
                    <a:lnTo>
                      <a:pt x="226" y="856"/>
                    </a:lnTo>
                    <a:lnTo>
                      <a:pt x="229" y="857"/>
                    </a:lnTo>
                    <a:lnTo>
                      <a:pt x="258" y="858"/>
                    </a:lnTo>
                    <a:lnTo>
                      <a:pt x="260" y="859"/>
                    </a:lnTo>
                    <a:lnTo>
                      <a:pt x="253" y="866"/>
                    </a:lnTo>
                    <a:lnTo>
                      <a:pt x="242" y="866"/>
                    </a:lnTo>
                    <a:lnTo>
                      <a:pt x="239" y="879"/>
                    </a:lnTo>
                    <a:lnTo>
                      <a:pt x="241" y="880"/>
                    </a:lnTo>
                    <a:lnTo>
                      <a:pt x="240" y="891"/>
                    </a:lnTo>
                    <a:lnTo>
                      <a:pt x="242" y="894"/>
                    </a:lnTo>
                    <a:lnTo>
                      <a:pt x="249" y="897"/>
                    </a:lnTo>
                    <a:lnTo>
                      <a:pt x="242" y="911"/>
                    </a:lnTo>
                    <a:lnTo>
                      <a:pt x="242" y="922"/>
                    </a:lnTo>
                    <a:lnTo>
                      <a:pt x="242" y="924"/>
                    </a:lnTo>
                    <a:lnTo>
                      <a:pt x="246" y="924"/>
                    </a:lnTo>
                    <a:lnTo>
                      <a:pt x="249" y="928"/>
                    </a:lnTo>
                    <a:lnTo>
                      <a:pt x="249" y="934"/>
                    </a:lnTo>
                    <a:lnTo>
                      <a:pt x="255" y="952"/>
                    </a:lnTo>
                    <a:lnTo>
                      <a:pt x="256" y="963"/>
                    </a:lnTo>
                    <a:lnTo>
                      <a:pt x="256" y="971"/>
                    </a:lnTo>
                    <a:lnTo>
                      <a:pt x="250" y="987"/>
                    </a:lnTo>
                    <a:lnTo>
                      <a:pt x="247" y="998"/>
                    </a:lnTo>
                    <a:lnTo>
                      <a:pt x="247" y="1009"/>
                    </a:lnTo>
                    <a:lnTo>
                      <a:pt x="251" y="1028"/>
                    </a:lnTo>
                    <a:lnTo>
                      <a:pt x="253" y="1031"/>
                    </a:lnTo>
                    <a:lnTo>
                      <a:pt x="253" y="1047"/>
                    </a:lnTo>
                    <a:lnTo>
                      <a:pt x="257" y="1044"/>
                    </a:lnTo>
                    <a:lnTo>
                      <a:pt x="261" y="1041"/>
                    </a:lnTo>
                    <a:lnTo>
                      <a:pt x="262" y="1045"/>
                    </a:lnTo>
                    <a:lnTo>
                      <a:pt x="263" y="1052"/>
                    </a:lnTo>
                    <a:lnTo>
                      <a:pt x="261" y="1056"/>
                    </a:lnTo>
                    <a:lnTo>
                      <a:pt x="261" y="1060"/>
                    </a:lnTo>
                    <a:lnTo>
                      <a:pt x="260" y="1065"/>
                    </a:lnTo>
                    <a:lnTo>
                      <a:pt x="257" y="1084"/>
                    </a:lnTo>
                    <a:lnTo>
                      <a:pt x="263" y="1093"/>
                    </a:lnTo>
                    <a:lnTo>
                      <a:pt x="262" y="1096"/>
                    </a:lnTo>
                    <a:lnTo>
                      <a:pt x="265" y="1114"/>
                    </a:lnTo>
                    <a:lnTo>
                      <a:pt x="266" y="1114"/>
                    </a:lnTo>
                    <a:lnTo>
                      <a:pt x="273" y="1139"/>
                    </a:lnTo>
                    <a:lnTo>
                      <a:pt x="276" y="1147"/>
                    </a:lnTo>
                    <a:lnTo>
                      <a:pt x="276" y="1157"/>
                    </a:lnTo>
                    <a:lnTo>
                      <a:pt x="278" y="1163"/>
                    </a:lnTo>
                    <a:lnTo>
                      <a:pt x="282" y="1192"/>
                    </a:lnTo>
                    <a:lnTo>
                      <a:pt x="284" y="1201"/>
                    </a:lnTo>
                    <a:lnTo>
                      <a:pt x="289" y="1212"/>
                    </a:lnTo>
                    <a:lnTo>
                      <a:pt x="293" y="1214"/>
                    </a:lnTo>
                    <a:lnTo>
                      <a:pt x="295" y="1225"/>
                    </a:lnTo>
                    <a:lnTo>
                      <a:pt x="304" y="1236"/>
                    </a:lnTo>
                    <a:close/>
                  </a:path>
                </a:pathLst>
              </a:custGeom>
              <a:solidFill>
                <a:schemeClr val="accent6">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94" name="Freeform 100"/>
              <p:cNvSpPr>
                <a:spLocks noChangeAspect="1"/>
              </p:cNvSpPr>
              <p:nvPr/>
            </p:nvSpPr>
            <p:spPr bwMode="gray">
              <a:xfrm>
                <a:off x="3183" y="2052"/>
                <a:ext cx="184" cy="168"/>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95" name="Freeform 101"/>
              <p:cNvSpPr>
                <a:spLocks noChangeAspect="1"/>
              </p:cNvSpPr>
              <p:nvPr/>
            </p:nvSpPr>
            <p:spPr bwMode="gray">
              <a:xfrm>
                <a:off x="3489" y="2165"/>
                <a:ext cx="37" cy="20"/>
              </a:xfrm>
              <a:custGeom>
                <a:avLst/>
                <a:gdLst/>
                <a:ahLst/>
                <a:cxnLst>
                  <a:cxn ang="0">
                    <a:pos x="164" y="32"/>
                  </a:cxn>
                  <a:cxn ang="0">
                    <a:pos x="164" y="30"/>
                  </a:cxn>
                  <a:cxn ang="0">
                    <a:pos x="150" y="22"/>
                  </a:cxn>
                  <a:cxn ang="0">
                    <a:pos x="148" y="18"/>
                  </a:cxn>
                  <a:cxn ang="0">
                    <a:pos x="145" y="17"/>
                  </a:cxn>
                  <a:cxn ang="0">
                    <a:pos x="130" y="21"/>
                  </a:cxn>
                  <a:cxn ang="0">
                    <a:pos x="126" y="21"/>
                  </a:cxn>
                  <a:cxn ang="0">
                    <a:pos x="112" y="16"/>
                  </a:cxn>
                  <a:cxn ang="0">
                    <a:pos x="96" y="15"/>
                  </a:cxn>
                  <a:cxn ang="0">
                    <a:pos x="89" y="10"/>
                  </a:cxn>
                  <a:cxn ang="0">
                    <a:pos x="89" y="7"/>
                  </a:cxn>
                  <a:cxn ang="0">
                    <a:pos x="85" y="1"/>
                  </a:cxn>
                  <a:cxn ang="0">
                    <a:pos x="79" y="0"/>
                  </a:cxn>
                  <a:cxn ang="0">
                    <a:pos x="65" y="1"/>
                  </a:cxn>
                  <a:cxn ang="0">
                    <a:pos x="53" y="6"/>
                  </a:cxn>
                  <a:cxn ang="0">
                    <a:pos x="42" y="17"/>
                  </a:cxn>
                  <a:cxn ang="0">
                    <a:pos x="32" y="33"/>
                  </a:cxn>
                  <a:cxn ang="0">
                    <a:pos x="11" y="53"/>
                  </a:cxn>
                  <a:cxn ang="0">
                    <a:pos x="10" y="59"/>
                  </a:cxn>
                  <a:cxn ang="0">
                    <a:pos x="9" y="63"/>
                  </a:cxn>
                  <a:cxn ang="0">
                    <a:pos x="0" y="71"/>
                  </a:cxn>
                  <a:cxn ang="0">
                    <a:pos x="0" y="76"/>
                  </a:cxn>
                  <a:cxn ang="0">
                    <a:pos x="5" y="77"/>
                  </a:cxn>
                  <a:cxn ang="0">
                    <a:pos x="6" y="80"/>
                  </a:cxn>
                  <a:cxn ang="0">
                    <a:pos x="6" y="87"/>
                  </a:cxn>
                  <a:cxn ang="0">
                    <a:pos x="8" y="88"/>
                  </a:cxn>
                  <a:cxn ang="0">
                    <a:pos x="11" y="88"/>
                  </a:cxn>
                  <a:cxn ang="0">
                    <a:pos x="15" y="91"/>
                  </a:cxn>
                  <a:cxn ang="0">
                    <a:pos x="26" y="95"/>
                  </a:cxn>
                  <a:cxn ang="0">
                    <a:pos x="49" y="98"/>
                  </a:cxn>
                  <a:cxn ang="0">
                    <a:pos x="68" y="98"/>
                  </a:cxn>
                  <a:cxn ang="0">
                    <a:pos x="91" y="90"/>
                  </a:cxn>
                  <a:cxn ang="0">
                    <a:pos x="96" y="90"/>
                  </a:cxn>
                  <a:cxn ang="0">
                    <a:pos x="106" y="93"/>
                  </a:cxn>
                  <a:cxn ang="0">
                    <a:pos x="115" y="93"/>
                  </a:cxn>
                  <a:cxn ang="0">
                    <a:pos x="123" y="92"/>
                  </a:cxn>
                  <a:cxn ang="0">
                    <a:pos x="144" y="88"/>
                  </a:cxn>
                  <a:cxn ang="0">
                    <a:pos x="158" y="87"/>
                  </a:cxn>
                  <a:cxn ang="0">
                    <a:pos x="178" y="84"/>
                  </a:cxn>
                  <a:cxn ang="0">
                    <a:pos x="186" y="80"/>
                  </a:cxn>
                  <a:cxn ang="0">
                    <a:pos x="186" y="77"/>
                  </a:cxn>
                  <a:cxn ang="0">
                    <a:pos x="185" y="73"/>
                  </a:cxn>
                  <a:cxn ang="0">
                    <a:pos x="187" y="59"/>
                  </a:cxn>
                  <a:cxn ang="0">
                    <a:pos x="181" y="53"/>
                  </a:cxn>
                  <a:cxn ang="0">
                    <a:pos x="162" y="45"/>
                  </a:cxn>
                  <a:cxn ang="0">
                    <a:pos x="161" y="43"/>
                  </a:cxn>
                  <a:cxn ang="0">
                    <a:pos x="161" y="41"/>
                  </a:cxn>
                  <a:cxn ang="0">
                    <a:pos x="164" y="34"/>
                  </a:cxn>
                  <a:cxn ang="0">
                    <a:pos x="164" y="32"/>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96" name="Freeform 102"/>
              <p:cNvSpPr>
                <a:spLocks noChangeAspect="1"/>
              </p:cNvSpPr>
              <p:nvPr/>
            </p:nvSpPr>
            <p:spPr bwMode="gray">
              <a:xfrm>
                <a:off x="3394" y="2140"/>
                <a:ext cx="88" cy="49"/>
              </a:xfrm>
              <a:custGeom>
                <a:avLst/>
                <a:gdLst/>
                <a:ahLst/>
                <a:cxnLst>
                  <a:cxn ang="0">
                    <a:pos x="432" y="170"/>
                  </a:cxn>
                  <a:cxn ang="0">
                    <a:pos x="428" y="203"/>
                  </a:cxn>
                  <a:cxn ang="0">
                    <a:pos x="441" y="221"/>
                  </a:cxn>
                  <a:cxn ang="0">
                    <a:pos x="434" y="242"/>
                  </a:cxn>
                  <a:cxn ang="0">
                    <a:pos x="396" y="242"/>
                  </a:cxn>
                  <a:cxn ang="0">
                    <a:pos x="368" y="238"/>
                  </a:cxn>
                  <a:cxn ang="0">
                    <a:pos x="308" y="224"/>
                  </a:cxn>
                  <a:cxn ang="0">
                    <a:pos x="267" y="218"/>
                  </a:cxn>
                  <a:cxn ang="0">
                    <a:pos x="239" y="191"/>
                  </a:cxn>
                  <a:cxn ang="0">
                    <a:pos x="211" y="184"/>
                  </a:cxn>
                  <a:cxn ang="0">
                    <a:pos x="192" y="184"/>
                  </a:cxn>
                  <a:cxn ang="0">
                    <a:pos x="168" y="187"/>
                  </a:cxn>
                  <a:cxn ang="0">
                    <a:pos x="136" y="168"/>
                  </a:cxn>
                  <a:cxn ang="0">
                    <a:pos x="114" y="159"/>
                  </a:cxn>
                  <a:cxn ang="0">
                    <a:pos x="83" y="148"/>
                  </a:cxn>
                  <a:cxn ang="0">
                    <a:pos x="57" y="124"/>
                  </a:cxn>
                  <a:cxn ang="0">
                    <a:pos x="32" y="109"/>
                  </a:cxn>
                  <a:cxn ang="0">
                    <a:pos x="23" y="113"/>
                  </a:cxn>
                  <a:cxn ang="0">
                    <a:pos x="12" y="98"/>
                  </a:cxn>
                  <a:cxn ang="0">
                    <a:pos x="1" y="87"/>
                  </a:cxn>
                  <a:cxn ang="0">
                    <a:pos x="11" y="71"/>
                  </a:cxn>
                  <a:cxn ang="0">
                    <a:pos x="14" y="51"/>
                  </a:cxn>
                  <a:cxn ang="0">
                    <a:pos x="17" y="34"/>
                  </a:cxn>
                  <a:cxn ang="0">
                    <a:pos x="30" y="22"/>
                  </a:cxn>
                  <a:cxn ang="0">
                    <a:pos x="43" y="6"/>
                  </a:cxn>
                  <a:cxn ang="0">
                    <a:pos x="54" y="4"/>
                  </a:cxn>
                  <a:cxn ang="0">
                    <a:pos x="67" y="18"/>
                  </a:cxn>
                  <a:cxn ang="0">
                    <a:pos x="71" y="8"/>
                  </a:cxn>
                  <a:cxn ang="0">
                    <a:pos x="73" y="0"/>
                  </a:cxn>
                  <a:cxn ang="0">
                    <a:pos x="110" y="7"/>
                  </a:cxn>
                  <a:cxn ang="0">
                    <a:pos x="141" y="24"/>
                  </a:cxn>
                  <a:cxn ang="0">
                    <a:pos x="174" y="46"/>
                  </a:cxn>
                  <a:cxn ang="0">
                    <a:pos x="186" y="77"/>
                  </a:cxn>
                  <a:cxn ang="0">
                    <a:pos x="200" y="74"/>
                  </a:cxn>
                  <a:cxn ang="0">
                    <a:pos x="207" y="67"/>
                  </a:cxn>
                  <a:cxn ang="0">
                    <a:pos x="221" y="63"/>
                  </a:cxn>
                  <a:cxn ang="0">
                    <a:pos x="226" y="73"/>
                  </a:cxn>
                  <a:cxn ang="0">
                    <a:pos x="226" y="95"/>
                  </a:cxn>
                  <a:cxn ang="0">
                    <a:pos x="235" y="101"/>
                  </a:cxn>
                  <a:cxn ang="0">
                    <a:pos x="251" y="104"/>
                  </a:cxn>
                  <a:cxn ang="0">
                    <a:pos x="272" y="106"/>
                  </a:cxn>
                  <a:cxn ang="0">
                    <a:pos x="277" y="117"/>
                  </a:cxn>
                  <a:cxn ang="0">
                    <a:pos x="301" y="131"/>
                  </a:cxn>
                  <a:cxn ang="0">
                    <a:pos x="315" y="142"/>
                  </a:cxn>
                  <a:cxn ang="0">
                    <a:pos x="329" y="149"/>
                  </a:cxn>
                  <a:cxn ang="0">
                    <a:pos x="344" y="149"/>
                  </a:cxn>
                  <a:cxn ang="0">
                    <a:pos x="356" y="144"/>
                  </a:cxn>
                  <a:cxn ang="0">
                    <a:pos x="377" y="151"/>
                  </a:cxn>
                  <a:cxn ang="0">
                    <a:pos x="398" y="158"/>
                  </a:cxn>
                  <a:cxn ang="0">
                    <a:pos x="422" y="159"/>
                  </a:cxn>
                  <a:cxn ang="0">
                    <a:pos x="439" y="15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97" name="Freeform 103"/>
              <p:cNvSpPr>
                <a:spLocks noChangeAspect="1"/>
              </p:cNvSpPr>
              <p:nvPr/>
            </p:nvSpPr>
            <p:spPr bwMode="gray">
              <a:xfrm>
                <a:off x="3479" y="2187"/>
                <a:ext cx="52" cy="67"/>
              </a:xfrm>
              <a:custGeom>
                <a:avLst/>
                <a:gdLst/>
                <a:ahLst/>
                <a:cxnLst>
                  <a:cxn ang="0">
                    <a:pos x="241" y="337"/>
                  </a:cxn>
                  <a:cxn ang="0">
                    <a:pos x="226" y="291"/>
                  </a:cxn>
                  <a:cxn ang="0">
                    <a:pos x="221" y="257"/>
                  </a:cxn>
                  <a:cxn ang="0">
                    <a:pos x="198" y="225"/>
                  </a:cxn>
                  <a:cxn ang="0">
                    <a:pos x="174" y="230"/>
                  </a:cxn>
                  <a:cxn ang="0">
                    <a:pos x="161" y="215"/>
                  </a:cxn>
                  <a:cxn ang="0">
                    <a:pos x="153" y="227"/>
                  </a:cxn>
                  <a:cxn ang="0">
                    <a:pos x="149" y="246"/>
                  </a:cxn>
                  <a:cxn ang="0">
                    <a:pos x="129" y="283"/>
                  </a:cxn>
                  <a:cxn ang="0">
                    <a:pos x="115" y="267"/>
                  </a:cxn>
                  <a:cxn ang="0">
                    <a:pos x="108" y="279"/>
                  </a:cxn>
                  <a:cxn ang="0">
                    <a:pos x="96" y="280"/>
                  </a:cxn>
                  <a:cxn ang="0">
                    <a:pos x="80" y="284"/>
                  </a:cxn>
                  <a:cxn ang="0">
                    <a:pos x="75" y="286"/>
                  </a:cxn>
                  <a:cxn ang="0">
                    <a:pos x="69" y="291"/>
                  </a:cxn>
                  <a:cxn ang="0">
                    <a:pos x="58" y="292"/>
                  </a:cxn>
                  <a:cxn ang="0">
                    <a:pos x="53" y="273"/>
                  </a:cxn>
                  <a:cxn ang="0">
                    <a:pos x="49" y="258"/>
                  </a:cxn>
                  <a:cxn ang="0">
                    <a:pos x="48" y="241"/>
                  </a:cxn>
                  <a:cxn ang="0">
                    <a:pos x="40" y="227"/>
                  </a:cxn>
                  <a:cxn ang="0">
                    <a:pos x="42" y="215"/>
                  </a:cxn>
                  <a:cxn ang="0">
                    <a:pos x="42" y="195"/>
                  </a:cxn>
                  <a:cxn ang="0">
                    <a:pos x="38" y="179"/>
                  </a:cxn>
                  <a:cxn ang="0">
                    <a:pos x="32" y="165"/>
                  </a:cxn>
                  <a:cxn ang="0">
                    <a:pos x="36" y="133"/>
                  </a:cxn>
                  <a:cxn ang="0">
                    <a:pos x="21" y="118"/>
                  </a:cxn>
                  <a:cxn ang="0">
                    <a:pos x="1" y="109"/>
                  </a:cxn>
                  <a:cxn ang="0">
                    <a:pos x="1" y="98"/>
                  </a:cxn>
                  <a:cxn ang="0">
                    <a:pos x="13" y="89"/>
                  </a:cxn>
                  <a:cxn ang="0">
                    <a:pos x="22" y="78"/>
                  </a:cxn>
                  <a:cxn ang="0">
                    <a:pos x="42" y="68"/>
                  </a:cxn>
                  <a:cxn ang="0">
                    <a:pos x="39" y="60"/>
                  </a:cxn>
                  <a:cxn ang="0">
                    <a:pos x="17" y="57"/>
                  </a:cxn>
                  <a:cxn ang="0">
                    <a:pos x="11" y="39"/>
                  </a:cxn>
                  <a:cxn ang="0">
                    <a:pos x="28" y="3"/>
                  </a:cxn>
                  <a:cxn ang="0">
                    <a:pos x="42" y="17"/>
                  </a:cxn>
                  <a:cxn ang="0">
                    <a:pos x="49" y="17"/>
                  </a:cxn>
                  <a:cxn ang="0">
                    <a:pos x="59" y="8"/>
                  </a:cxn>
                  <a:cxn ang="0">
                    <a:pos x="69" y="31"/>
                  </a:cxn>
                  <a:cxn ang="0">
                    <a:pos x="82" y="33"/>
                  </a:cxn>
                  <a:cxn ang="0">
                    <a:pos x="93" y="23"/>
                  </a:cxn>
                  <a:cxn ang="0">
                    <a:pos x="101" y="62"/>
                  </a:cxn>
                  <a:cxn ang="0">
                    <a:pos x="118" y="75"/>
                  </a:cxn>
                  <a:cxn ang="0">
                    <a:pos x="166" y="76"/>
                  </a:cxn>
                  <a:cxn ang="0">
                    <a:pos x="203" y="76"/>
                  </a:cxn>
                  <a:cxn ang="0">
                    <a:pos x="242" y="86"/>
                  </a:cxn>
                  <a:cxn ang="0">
                    <a:pos x="231" y="96"/>
                  </a:cxn>
                  <a:cxn ang="0">
                    <a:pos x="214" y="124"/>
                  </a:cxn>
                  <a:cxn ang="0">
                    <a:pos x="192" y="140"/>
                  </a:cxn>
                  <a:cxn ang="0">
                    <a:pos x="176" y="157"/>
                  </a:cxn>
                  <a:cxn ang="0">
                    <a:pos x="184" y="193"/>
                  </a:cxn>
                  <a:cxn ang="0">
                    <a:pos x="199" y="204"/>
                  </a:cxn>
                  <a:cxn ang="0">
                    <a:pos x="211" y="202"/>
                  </a:cxn>
                  <a:cxn ang="0">
                    <a:pos x="228" y="166"/>
                  </a:cxn>
                  <a:cxn ang="0">
                    <a:pos x="241" y="181"/>
                  </a:cxn>
                  <a:cxn ang="0">
                    <a:pos x="249" y="206"/>
                  </a:cxn>
                  <a:cxn ang="0">
                    <a:pos x="258" y="243"/>
                  </a:cxn>
                  <a:cxn ang="0">
                    <a:pos x="260" y="279"/>
                  </a:cxn>
                  <a:cxn ang="0">
                    <a:pos x="250" y="305"/>
                  </a:cxn>
                  <a:cxn ang="0">
                    <a:pos x="243" y="318"/>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solidFill>
                <a:schemeClr val="accent6">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1098" name="Freeform 104"/>
              <p:cNvSpPr>
                <a:spLocks noChangeAspect="1"/>
              </p:cNvSpPr>
              <p:nvPr/>
            </p:nvSpPr>
            <p:spPr bwMode="gray">
              <a:xfrm>
                <a:off x="3390" y="2379"/>
                <a:ext cx="23" cy="43"/>
              </a:xfrm>
              <a:custGeom>
                <a:avLst/>
                <a:gdLst/>
                <a:ahLst/>
                <a:cxnLst>
                  <a:cxn ang="0">
                    <a:pos x="18" y="0"/>
                  </a:cxn>
                  <a:cxn ang="0">
                    <a:pos x="13" y="4"/>
                  </a:cxn>
                  <a:cxn ang="0">
                    <a:pos x="19" y="9"/>
                  </a:cxn>
                  <a:cxn ang="0">
                    <a:pos x="28" y="12"/>
                  </a:cxn>
                  <a:cxn ang="0">
                    <a:pos x="33" y="19"/>
                  </a:cxn>
                  <a:cxn ang="0">
                    <a:pos x="28" y="19"/>
                  </a:cxn>
                  <a:cxn ang="0">
                    <a:pos x="22" y="25"/>
                  </a:cxn>
                  <a:cxn ang="0">
                    <a:pos x="19" y="38"/>
                  </a:cxn>
                  <a:cxn ang="0">
                    <a:pos x="13" y="47"/>
                  </a:cxn>
                  <a:cxn ang="0">
                    <a:pos x="7" y="95"/>
                  </a:cxn>
                  <a:cxn ang="0">
                    <a:pos x="2" y="91"/>
                  </a:cxn>
                  <a:cxn ang="0">
                    <a:pos x="0" y="95"/>
                  </a:cxn>
                  <a:cxn ang="0">
                    <a:pos x="0" y="111"/>
                  </a:cxn>
                  <a:cxn ang="0">
                    <a:pos x="7" y="166"/>
                  </a:cxn>
                  <a:cxn ang="0">
                    <a:pos x="11" y="182"/>
                  </a:cxn>
                  <a:cxn ang="0">
                    <a:pos x="19" y="198"/>
                  </a:cxn>
                  <a:cxn ang="0">
                    <a:pos x="29" y="209"/>
                  </a:cxn>
                  <a:cxn ang="0">
                    <a:pos x="45" y="211"/>
                  </a:cxn>
                  <a:cxn ang="0">
                    <a:pos x="59" y="211"/>
                  </a:cxn>
                  <a:cxn ang="0">
                    <a:pos x="86" y="197"/>
                  </a:cxn>
                  <a:cxn ang="0">
                    <a:pos x="100" y="187"/>
                  </a:cxn>
                  <a:cxn ang="0">
                    <a:pos x="113" y="170"/>
                  </a:cxn>
                  <a:cxn ang="0">
                    <a:pos x="115" y="145"/>
                  </a:cxn>
                  <a:cxn ang="0">
                    <a:pos x="116" y="125"/>
                  </a:cxn>
                  <a:cxn ang="0">
                    <a:pos x="115" y="117"/>
                  </a:cxn>
                  <a:cxn ang="0">
                    <a:pos x="108" y="114"/>
                  </a:cxn>
                  <a:cxn ang="0">
                    <a:pos x="98" y="87"/>
                  </a:cxn>
                  <a:cxn ang="0">
                    <a:pos x="92" y="75"/>
                  </a:cxn>
                  <a:cxn ang="0">
                    <a:pos x="86" y="69"/>
                  </a:cxn>
                  <a:cxn ang="0">
                    <a:pos x="83" y="62"/>
                  </a:cxn>
                  <a:cxn ang="0">
                    <a:pos x="80" y="55"/>
                  </a:cxn>
                  <a:cxn ang="0">
                    <a:pos x="67" y="44"/>
                  </a:cxn>
                  <a:cxn ang="0">
                    <a:pos x="64" y="33"/>
                  </a:cxn>
                  <a:cxn ang="0">
                    <a:pos x="45" y="12"/>
                  </a:cxn>
                  <a:cxn ang="0">
                    <a:pos x="35" y="4"/>
                  </a:cxn>
                  <a:cxn ang="0">
                    <a:pos x="27" y="0"/>
                  </a:cxn>
                  <a:cxn ang="0">
                    <a:pos x="18" y="0"/>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808" name="Freeform 105"/>
            <p:cNvSpPr>
              <a:spLocks noChangeAspect="1"/>
            </p:cNvSpPr>
            <p:nvPr/>
          </p:nvSpPr>
          <p:spPr bwMode="gray">
            <a:xfrm>
              <a:off x="6850852" y="3240432"/>
              <a:ext cx="30163" cy="63500"/>
            </a:xfrm>
            <a:custGeom>
              <a:avLst/>
              <a:gdLst/>
              <a:ahLst/>
              <a:cxnLst>
                <a:cxn ang="0">
                  <a:pos x="75" y="0"/>
                </a:cxn>
                <a:cxn ang="0">
                  <a:pos x="82" y="4"/>
                </a:cxn>
                <a:cxn ang="0">
                  <a:pos x="87" y="9"/>
                </a:cxn>
                <a:cxn ang="0">
                  <a:pos x="92" y="9"/>
                </a:cxn>
                <a:cxn ang="0">
                  <a:pos x="94" y="10"/>
                </a:cxn>
                <a:cxn ang="0">
                  <a:pos x="97" y="15"/>
                </a:cxn>
                <a:cxn ang="0">
                  <a:pos x="97" y="18"/>
                </a:cxn>
                <a:cxn ang="0">
                  <a:pos x="93" y="26"/>
                </a:cxn>
                <a:cxn ang="0">
                  <a:pos x="93" y="32"/>
                </a:cxn>
                <a:cxn ang="0">
                  <a:pos x="94" y="41"/>
                </a:cxn>
                <a:cxn ang="0">
                  <a:pos x="92" y="50"/>
                </a:cxn>
                <a:cxn ang="0">
                  <a:pos x="83" y="69"/>
                </a:cxn>
                <a:cxn ang="0">
                  <a:pos x="79" y="95"/>
                </a:cxn>
                <a:cxn ang="0">
                  <a:pos x="76" y="114"/>
                </a:cxn>
                <a:cxn ang="0">
                  <a:pos x="68" y="131"/>
                </a:cxn>
                <a:cxn ang="0">
                  <a:pos x="57" y="150"/>
                </a:cxn>
                <a:cxn ang="0">
                  <a:pos x="51" y="159"/>
                </a:cxn>
                <a:cxn ang="0">
                  <a:pos x="48" y="168"/>
                </a:cxn>
                <a:cxn ang="0">
                  <a:pos x="40" y="199"/>
                </a:cxn>
                <a:cxn ang="0">
                  <a:pos x="36" y="195"/>
                </a:cxn>
                <a:cxn ang="0">
                  <a:pos x="33" y="182"/>
                </a:cxn>
                <a:cxn ang="0">
                  <a:pos x="25" y="170"/>
                </a:cxn>
                <a:cxn ang="0">
                  <a:pos x="16" y="163"/>
                </a:cxn>
                <a:cxn ang="0">
                  <a:pos x="6" y="147"/>
                </a:cxn>
                <a:cxn ang="0">
                  <a:pos x="1" y="122"/>
                </a:cxn>
                <a:cxn ang="0">
                  <a:pos x="0" y="102"/>
                </a:cxn>
                <a:cxn ang="0">
                  <a:pos x="2" y="92"/>
                </a:cxn>
                <a:cxn ang="0">
                  <a:pos x="9" y="76"/>
                </a:cxn>
                <a:cxn ang="0">
                  <a:pos x="48" y="17"/>
                </a:cxn>
                <a:cxn ang="0">
                  <a:pos x="65" y="7"/>
                </a:cxn>
                <a:cxn ang="0">
                  <a:pos x="68" y="3"/>
                </a:cxn>
                <a:cxn ang="0">
                  <a:pos x="75" y="0"/>
                </a:cxn>
              </a:cxnLst>
              <a:rect l="0" t="0" r="r" b="b"/>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809" name="Group 106"/>
            <p:cNvGrpSpPr>
              <a:grpSpLocks noChangeAspect="1"/>
            </p:cNvGrpSpPr>
            <p:nvPr/>
          </p:nvGrpSpPr>
          <p:grpSpPr bwMode="gray">
            <a:xfrm>
              <a:off x="7017539" y="2807045"/>
              <a:ext cx="282575" cy="320675"/>
              <a:chOff x="3938" y="1929"/>
              <a:chExt cx="178" cy="202"/>
            </a:xfrm>
            <a:grpFill/>
          </p:grpSpPr>
          <p:sp>
            <p:nvSpPr>
              <p:cNvPr id="1088" name="Freeform 107"/>
              <p:cNvSpPr>
                <a:spLocks noChangeAspect="1"/>
              </p:cNvSpPr>
              <p:nvPr/>
            </p:nvSpPr>
            <p:spPr bwMode="gray">
              <a:xfrm>
                <a:off x="4050" y="1929"/>
                <a:ext cx="66" cy="61"/>
              </a:xfrm>
              <a:custGeom>
                <a:avLst/>
                <a:gdLst/>
                <a:ahLst/>
                <a:cxnLst>
                  <a:cxn ang="0">
                    <a:pos x="301" y="94"/>
                  </a:cxn>
                  <a:cxn ang="0">
                    <a:pos x="299" y="113"/>
                  </a:cxn>
                  <a:cxn ang="0">
                    <a:pos x="294" y="141"/>
                  </a:cxn>
                  <a:cxn ang="0">
                    <a:pos x="304" y="164"/>
                  </a:cxn>
                  <a:cxn ang="0">
                    <a:pos x="330" y="159"/>
                  </a:cxn>
                  <a:cxn ang="0">
                    <a:pos x="308" y="177"/>
                  </a:cxn>
                  <a:cxn ang="0">
                    <a:pos x="283" y="191"/>
                  </a:cxn>
                  <a:cxn ang="0">
                    <a:pos x="271" y="195"/>
                  </a:cxn>
                  <a:cxn ang="0">
                    <a:pos x="238" y="195"/>
                  </a:cxn>
                  <a:cxn ang="0">
                    <a:pos x="208" y="223"/>
                  </a:cxn>
                  <a:cxn ang="0">
                    <a:pos x="195" y="259"/>
                  </a:cxn>
                  <a:cxn ang="0">
                    <a:pos x="162" y="248"/>
                  </a:cxn>
                  <a:cxn ang="0">
                    <a:pos x="114" y="224"/>
                  </a:cxn>
                  <a:cxn ang="0">
                    <a:pos x="84" y="227"/>
                  </a:cxn>
                  <a:cxn ang="0">
                    <a:pos x="63" y="235"/>
                  </a:cxn>
                  <a:cxn ang="0">
                    <a:pos x="36" y="226"/>
                  </a:cxn>
                  <a:cxn ang="0">
                    <a:pos x="34" y="251"/>
                  </a:cxn>
                  <a:cxn ang="0">
                    <a:pos x="74" y="277"/>
                  </a:cxn>
                  <a:cxn ang="0">
                    <a:pos x="59" y="283"/>
                  </a:cxn>
                  <a:cxn ang="0">
                    <a:pos x="40" y="289"/>
                  </a:cxn>
                  <a:cxn ang="0">
                    <a:pos x="22" y="307"/>
                  </a:cxn>
                  <a:cxn ang="0">
                    <a:pos x="11" y="295"/>
                  </a:cxn>
                  <a:cxn ang="0">
                    <a:pos x="0" y="247"/>
                  </a:cxn>
                  <a:cxn ang="0">
                    <a:pos x="11" y="214"/>
                  </a:cxn>
                  <a:cxn ang="0">
                    <a:pos x="34" y="195"/>
                  </a:cxn>
                  <a:cxn ang="0">
                    <a:pos x="31" y="176"/>
                  </a:cxn>
                  <a:cxn ang="0">
                    <a:pos x="47" y="171"/>
                  </a:cxn>
                  <a:cxn ang="0">
                    <a:pos x="81" y="175"/>
                  </a:cxn>
                  <a:cxn ang="0">
                    <a:pos x="87" y="146"/>
                  </a:cxn>
                  <a:cxn ang="0">
                    <a:pos x="94" y="127"/>
                  </a:cxn>
                  <a:cxn ang="0">
                    <a:pos x="102" y="90"/>
                  </a:cxn>
                  <a:cxn ang="0">
                    <a:pos x="99" y="25"/>
                  </a:cxn>
                  <a:cxn ang="0">
                    <a:pos x="110" y="3"/>
                  </a:cxn>
                  <a:cxn ang="0">
                    <a:pos x="122" y="8"/>
                  </a:cxn>
                  <a:cxn ang="0">
                    <a:pos x="135" y="22"/>
                  </a:cxn>
                  <a:cxn ang="0">
                    <a:pos x="179" y="75"/>
                  </a:cxn>
                  <a:cxn ang="0">
                    <a:pos x="222" y="103"/>
                  </a:cxn>
                  <a:cxn ang="0">
                    <a:pos x="250" y="116"/>
                  </a:cxn>
                  <a:cxn ang="0">
                    <a:pos x="272" y="118"/>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89" name="Freeform 108"/>
              <p:cNvSpPr>
                <a:spLocks noChangeAspect="1"/>
              </p:cNvSpPr>
              <p:nvPr/>
            </p:nvSpPr>
            <p:spPr bwMode="gray">
              <a:xfrm>
                <a:off x="3952" y="1989"/>
                <a:ext cx="123" cy="110"/>
              </a:xfrm>
              <a:custGeom>
                <a:avLst/>
                <a:gdLst/>
                <a:ahLst/>
                <a:cxnLst>
                  <a:cxn ang="0">
                    <a:pos x="578" y="13"/>
                  </a:cxn>
                  <a:cxn ang="0">
                    <a:pos x="582" y="69"/>
                  </a:cxn>
                  <a:cxn ang="0">
                    <a:pos x="607" y="118"/>
                  </a:cxn>
                  <a:cxn ang="0">
                    <a:pos x="608" y="160"/>
                  </a:cxn>
                  <a:cxn ang="0">
                    <a:pos x="593" y="180"/>
                  </a:cxn>
                  <a:cxn ang="0">
                    <a:pos x="571" y="223"/>
                  </a:cxn>
                  <a:cxn ang="0">
                    <a:pos x="554" y="268"/>
                  </a:cxn>
                  <a:cxn ang="0">
                    <a:pos x="558" y="317"/>
                  </a:cxn>
                  <a:cxn ang="0">
                    <a:pos x="535" y="365"/>
                  </a:cxn>
                  <a:cxn ang="0">
                    <a:pos x="545" y="404"/>
                  </a:cxn>
                  <a:cxn ang="0">
                    <a:pos x="521" y="439"/>
                  </a:cxn>
                  <a:cxn ang="0">
                    <a:pos x="495" y="425"/>
                  </a:cxn>
                  <a:cxn ang="0">
                    <a:pos x="491" y="408"/>
                  </a:cxn>
                  <a:cxn ang="0">
                    <a:pos x="483" y="440"/>
                  </a:cxn>
                  <a:cxn ang="0">
                    <a:pos x="456" y="443"/>
                  </a:cxn>
                  <a:cxn ang="0">
                    <a:pos x="437" y="474"/>
                  </a:cxn>
                  <a:cxn ang="0">
                    <a:pos x="427" y="446"/>
                  </a:cxn>
                  <a:cxn ang="0">
                    <a:pos x="404" y="478"/>
                  </a:cxn>
                  <a:cxn ang="0">
                    <a:pos x="356" y="476"/>
                  </a:cxn>
                  <a:cxn ang="0">
                    <a:pos x="351" y="470"/>
                  </a:cxn>
                  <a:cxn ang="0">
                    <a:pos x="333" y="470"/>
                  </a:cxn>
                  <a:cxn ang="0">
                    <a:pos x="320" y="451"/>
                  </a:cxn>
                  <a:cxn ang="0">
                    <a:pos x="328" y="504"/>
                  </a:cxn>
                  <a:cxn ang="0">
                    <a:pos x="307" y="503"/>
                  </a:cxn>
                  <a:cxn ang="0">
                    <a:pos x="295" y="517"/>
                  </a:cxn>
                  <a:cxn ang="0">
                    <a:pos x="252" y="546"/>
                  </a:cxn>
                  <a:cxn ang="0">
                    <a:pos x="233" y="517"/>
                  </a:cxn>
                  <a:cxn ang="0">
                    <a:pos x="248" y="479"/>
                  </a:cxn>
                  <a:cxn ang="0">
                    <a:pos x="228" y="476"/>
                  </a:cxn>
                  <a:cxn ang="0">
                    <a:pos x="190" y="468"/>
                  </a:cxn>
                  <a:cxn ang="0">
                    <a:pos x="156" y="483"/>
                  </a:cxn>
                  <a:cxn ang="0">
                    <a:pos x="133" y="492"/>
                  </a:cxn>
                  <a:cxn ang="0">
                    <a:pos x="92" y="503"/>
                  </a:cxn>
                  <a:cxn ang="0">
                    <a:pos x="69" y="524"/>
                  </a:cxn>
                  <a:cxn ang="0">
                    <a:pos x="43" y="515"/>
                  </a:cxn>
                  <a:cxn ang="0">
                    <a:pos x="20" y="521"/>
                  </a:cxn>
                  <a:cxn ang="0">
                    <a:pos x="0" y="503"/>
                  </a:cxn>
                  <a:cxn ang="0">
                    <a:pos x="35" y="478"/>
                  </a:cxn>
                  <a:cxn ang="0">
                    <a:pos x="74" y="446"/>
                  </a:cxn>
                  <a:cxn ang="0">
                    <a:pos x="106" y="417"/>
                  </a:cxn>
                  <a:cxn ang="0">
                    <a:pos x="155" y="416"/>
                  </a:cxn>
                  <a:cxn ang="0">
                    <a:pos x="219" y="407"/>
                  </a:cxn>
                  <a:cxn ang="0">
                    <a:pos x="237" y="412"/>
                  </a:cxn>
                  <a:cxn ang="0">
                    <a:pos x="270" y="412"/>
                  </a:cxn>
                  <a:cxn ang="0">
                    <a:pos x="300" y="357"/>
                  </a:cxn>
                  <a:cxn ang="0">
                    <a:pos x="322" y="305"/>
                  </a:cxn>
                  <a:cxn ang="0">
                    <a:pos x="351" y="284"/>
                  </a:cxn>
                  <a:cxn ang="0">
                    <a:pos x="333" y="306"/>
                  </a:cxn>
                  <a:cxn ang="0">
                    <a:pos x="336" y="333"/>
                  </a:cxn>
                  <a:cxn ang="0">
                    <a:pos x="363" y="321"/>
                  </a:cxn>
                  <a:cxn ang="0">
                    <a:pos x="410" y="295"/>
                  </a:cxn>
                  <a:cxn ang="0">
                    <a:pos x="440" y="257"/>
                  </a:cxn>
                  <a:cxn ang="0">
                    <a:pos x="467" y="235"/>
                  </a:cxn>
                  <a:cxn ang="0">
                    <a:pos x="486" y="188"/>
                  </a:cxn>
                  <a:cxn ang="0">
                    <a:pos x="499" y="154"/>
                  </a:cxn>
                  <a:cxn ang="0">
                    <a:pos x="495" y="117"/>
                  </a:cxn>
                  <a:cxn ang="0">
                    <a:pos x="499" y="92"/>
                  </a:cxn>
                  <a:cxn ang="0">
                    <a:pos x="512" y="49"/>
                  </a:cxn>
                  <a:cxn ang="0">
                    <a:pos x="524" y="20"/>
                  </a:cxn>
                  <a:cxn ang="0">
                    <a:pos x="539" y="48"/>
                  </a:cxn>
                  <a:cxn ang="0">
                    <a:pos x="560" y="41"/>
                  </a:cxn>
                  <a:cxn ang="0">
                    <a:pos x="559" y="22"/>
                  </a:cxn>
                  <a:cxn ang="0">
                    <a:pos x="547" y="3"/>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90" name="Freeform 109"/>
              <p:cNvSpPr>
                <a:spLocks noChangeAspect="1"/>
              </p:cNvSpPr>
              <p:nvPr/>
            </p:nvSpPr>
            <p:spPr bwMode="gray">
              <a:xfrm>
                <a:off x="3966" y="2088"/>
                <a:ext cx="28" cy="21"/>
              </a:xfrm>
              <a:custGeom>
                <a:avLst/>
                <a:gdLst/>
                <a:ahLst/>
                <a:cxnLst>
                  <a:cxn ang="0">
                    <a:pos x="113" y="70"/>
                  </a:cxn>
                  <a:cxn ang="0">
                    <a:pos x="102" y="63"/>
                  </a:cxn>
                  <a:cxn ang="0">
                    <a:pos x="88" y="58"/>
                  </a:cxn>
                  <a:cxn ang="0">
                    <a:pos x="74" y="62"/>
                  </a:cxn>
                  <a:cxn ang="0">
                    <a:pos x="66" y="68"/>
                  </a:cxn>
                  <a:cxn ang="0">
                    <a:pos x="59" y="80"/>
                  </a:cxn>
                  <a:cxn ang="0">
                    <a:pos x="50" y="95"/>
                  </a:cxn>
                  <a:cxn ang="0">
                    <a:pos x="48" y="106"/>
                  </a:cxn>
                  <a:cxn ang="0">
                    <a:pos x="39" y="107"/>
                  </a:cxn>
                  <a:cxn ang="0">
                    <a:pos x="30" y="100"/>
                  </a:cxn>
                  <a:cxn ang="0">
                    <a:pos x="26" y="95"/>
                  </a:cxn>
                  <a:cxn ang="0">
                    <a:pos x="19" y="82"/>
                  </a:cxn>
                  <a:cxn ang="0">
                    <a:pos x="20" y="76"/>
                  </a:cxn>
                  <a:cxn ang="0">
                    <a:pos x="16" y="69"/>
                  </a:cxn>
                  <a:cxn ang="0">
                    <a:pos x="10" y="64"/>
                  </a:cxn>
                  <a:cxn ang="0">
                    <a:pos x="0" y="64"/>
                  </a:cxn>
                  <a:cxn ang="0">
                    <a:pos x="15" y="53"/>
                  </a:cxn>
                  <a:cxn ang="0">
                    <a:pos x="37" y="23"/>
                  </a:cxn>
                  <a:cxn ang="0">
                    <a:pos x="50" y="25"/>
                  </a:cxn>
                  <a:cxn ang="0">
                    <a:pos x="57" y="28"/>
                  </a:cxn>
                  <a:cxn ang="0">
                    <a:pos x="68" y="26"/>
                  </a:cxn>
                  <a:cxn ang="0">
                    <a:pos x="78" y="21"/>
                  </a:cxn>
                  <a:cxn ang="0">
                    <a:pos x="82" y="14"/>
                  </a:cxn>
                  <a:cxn ang="0">
                    <a:pos x="95" y="1"/>
                  </a:cxn>
                  <a:cxn ang="0">
                    <a:pos x="102" y="0"/>
                  </a:cxn>
                  <a:cxn ang="0">
                    <a:pos x="112" y="3"/>
                  </a:cxn>
                  <a:cxn ang="0">
                    <a:pos x="123" y="9"/>
                  </a:cxn>
                  <a:cxn ang="0">
                    <a:pos x="132" y="10"/>
                  </a:cxn>
                  <a:cxn ang="0">
                    <a:pos x="138" y="33"/>
                  </a:cxn>
                  <a:cxn ang="0">
                    <a:pos x="140" y="36"/>
                  </a:cxn>
                  <a:cxn ang="0">
                    <a:pos x="134" y="44"/>
                  </a:cxn>
                  <a:cxn ang="0">
                    <a:pos x="128" y="47"/>
                  </a:cxn>
                  <a:cxn ang="0">
                    <a:pos x="123" y="54"/>
                  </a:cxn>
                  <a:cxn ang="0">
                    <a:pos x="118" y="63"/>
                  </a:cxn>
                  <a:cxn ang="0">
                    <a:pos x="113" y="70"/>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91" name="Freeform 110"/>
              <p:cNvSpPr>
                <a:spLocks noChangeAspect="1"/>
              </p:cNvSpPr>
              <p:nvPr/>
            </p:nvSpPr>
            <p:spPr bwMode="gray">
              <a:xfrm>
                <a:off x="3938" y="2093"/>
                <a:ext cx="26" cy="38"/>
              </a:xfrm>
              <a:custGeom>
                <a:avLst/>
                <a:gdLst/>
                <a:ahLst/>
                <a:cxnLst>
                  <a:cxn ang="0">
                    <a:pos x="69" y="2"/>
                  </a:cxn>
                  <a:cxn ang="0">
                    <a:pos x="56" y="4"/>
                  </a:cxn>
                  <a:cxn ang="0">
                    <a:pos x="42" y="22"/>
                  </a:cxn>
                  <a:cxn ang="0">
                    <a:pos x="29" y="29"/>
                  </a:cxn>
                  <a:cxn ang="0">
                    <a:pos x="18" y="29"/>
                  </a:cxn>
                  <a:cxn ang="0">
                    <a:pos x="0" y="48"/>
                  </a:cxn>
                  <a:cxn ang="0">
                    <a:pos x="16" y="64"/>
                  </a:cxn>
                  <a:cxn ang="0">
                    <a:pos x="11" y="62"/>
                  </a:cxn>
                  <a:cxn ang="0">
                    <a:pos x="9" y="88"/>
                  </a:cxn>
                  <a:cxn ang="0">
                    <a:pos x="27" y="78"/>
                  </a:cxn>
                  <a:cxn ang="0">
                    <a:pos x="41" y="75"/>
                  </a:cxn>
                  <a:cxn ang="0">
                    <a:pos x="32" y="65"/>
                  </a:cxn>
                  <a:cxn ang="0">
                    <a:pos x="37" y="50"/>
                  </a:cxn>
                  <a:cxn ang="0">
                    <a:pos x="51" y="74"/>
                  </a:cxn>
                  <a:cxn ang="0">
                    <a:pos x="53" y="86"/>
                  </a:cxn>
                  <a:cxn ang="0">
                    <a:pos x="47" y="112"/>
                  </a:cxn>
                  <a:cxn ang="0">
                    <a:pos x="36" y="128"/>
                  </a:cxn>
                  <a:cxn ang="0">
                    <a:pos x="38" y="159"/>
                  </a:cxn>
                  <a:cxn ang="0">
                    <a:pos x="41" y="174"/>
                  </a:cxn>
                  <a:cxn ang="0">
                    <a:pos x="58" y="166"/>
                  </a:cxn>
                  <a:cxn ang="0">
                    <a:pos x="57" y="145"/>
                  </a:cxn>
                  <a:cxn ang="0">
                    <a:pos x="62" y="151"/>
                  </a:cxn>
                  <a:cxn ang="0">
                    <a:pos x="63" y="172"/>
                  </a:cxn>
                  <a:cxn ang="0">
                    <a:pos x="70" y="185"/>
                  </a:cxn>
                  <a:cxn ang="0">
                    <a:pos x="79" y="169"/>
                  </a:cxn>
                  <a:cxn ang="0">
                    <a:pos x="94" y="164"/>
                  </a:cxn>
                  <a:cxn ang="0">
                    <a:pos x="107" y="117"/>
                  </a:cxn>
                  <a:cxn ang="0">
                    <a:pos x="120" y="89"/>
                  </a:cxn>
                  <a:cxn ang="0">
                    <a:pos x="131" y="69"/>
                  </a:cxn>
                  <a:cxn ang="0">
                    <a:pos x="124" y="48"/>
                  </a:cxn>
                  <a:cxn ang="0">
                    <a:pos x="110" y="40"/>
                  </a:cxn>
                  <a:cxn ang="0">
                    <a:pos x="112" y="19"/>
                  </a:cxn>
                  <a:cxn ang="0">
                    <a:pos x="86" y="22"/>
                  </a:cxn>
                  <a:cxn ang="0">
                    <a:pos x="77" y="3"/>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810" name="Freeform 111"/>
            <p:cNvSpPr>
              <a:spLocks noChangeAspect="1"/>
            </p:cNvSpPr>
            <p:nvPr/>
          </p:nvSpPr>
          <p:spPr bwMode="gray">
            <a:xfrm>
              <a:off x="6955627" y="2968970"/>
              <a:ext cx="60325" cy="90488"/>
            </a:xfrm>
            <a:custGeom>
              <a:avLst/>
              <a:gdLst/>
              <a:ahLst/>
              <a:cxnLst>
                <a:cxn ang="0">
                  <a:pos x="130" y="5"/>
                </a:cxn>
                <a:cxn ang="0">
                  <a:pos x="156" y="46"/>
                </a:cxn>
                <a:cxn ang="0">
                  <a:pos x="173" y="73"/>
                </a:cxn>
                <a:cxn ang="0">
                  <a:pos x="184" y="113"/>
                </a:cxn>
                <a:cxn ang="0">
                  <a:pos x="184" y="170"/>
                </a:cxn>
                <a:cxn ang="0">
                  <a:pos x="181" y="201"/>
                </a:cxn>
                <a:cxn ang="0">
                  <a:pos x="163" y="228"/>
                </a:cxn>
                <a:cxn ang="0">
                  <a:pos x="142" y="233"/>
                </a:cxn>
                <a:cxn ang="0">
                  <a:pos x="131" y="235"/>
                </a:cxn>
                <a:cxn ang="0">
                  <a:pos x="120" y="252"/>
                </a:cxn>
                <a:cxn ang="0">
                  <a:pos x="111" y="245"/>
                </a:cxn>
                <a:cxn ang="0">
                  <a:pos x="95" y="241"/>
                </a:cxn>
                <a:cxn ang="0">
                  <a:pos x="88" y="252"/>
                </a:cxn>
                <a:cxn ang="0">
                  <a:pos x="79" y="263"/>
                </a:cxn>
                <a:cxn ang="0">
                  <a:pos x="72" y="252"/>
                </a:cxn>
                <a:cxn ang="0">
                  <a:pos x="66" y="272"/>
                </a:cxn>
                <a:cxn ang="0">
                  <a:pos x="57" y="269"/>
                </a:cxn>
                <a:cxn ang="0">
                  <a:pos x="66" y="257"/>
                </a:cxn>
                <a:cxn ang="0">
                  <a:pos x="51" y="264"/>
                </a:cxn>
                <a:cxn ang="0">
                  <a:pos x="38" y="276"/>
                </a:cxn>
                <a:cxn ang="0">
                  <a:pos x="31" y="274"/>
                </a:cxn>
                <a:cxn ang="0">
                  <a:pos x="20" y="274"/>
                </a:cxn>
                <a:cxn ang="0">
                  <a:pos x="8" y="285"/>
                </a:cxn>
                <a:cxn ang="0">
                  <a:pos x="9" y="273"/>
                </a:cxn>
                <a:cxn ang="0">
                  <a:pos x="22" y="267"/>
                </a:cxn>
                <a:cxn ang="0">
                  <a:pos x="24" y="253"/>
                </a:cxn>
                <a:cxn ang="0">
                  <a:pos x="13" y="256"/>
                </a:cxn>
                <a:cxn ang="0">
                  <a:pos x="15" y="235"/>
                </a:cxn>
                <a:cxn ang="0">
                  <a:pos x="20" y="212"/>
                </a:cxn>
                <a:cxn ang="0">
                  <a:pos x="23" y="199"/>
                </a:cxn>
                <a:cxn ang="0">
                  <a:pos x="34" y="186"/>
                </a:cxn>
                <a:cxn ang="0">
                  <a:pos x="30" y="174"/>
                </a:cxn>
                <a:cxn ang="0">
                  <a:pos x="23" y="155"/>
                </a:cxn>
                <a:cxn ang="0">
                  <a:pos x="19" y="129"/>
                </a:cxn>
                <a:cxn ang="0">
                  <a:pos x="15" y="139"/>
                </a:cxn>
                <a:cxn ang="0">
                  <a:pos x="4" y="132"/>
                </a:cxn>
                <a:cxn ang="0">
                  <a:pos x="1" y="123"/>
                </a:cxn>
                <a:cxn ang="0">
                  <a:pos x="17" y="115"/>
                </a:cxn>
                <a:cxn ang="0">
                  <a:pos x="39" y="117"/>
                </a:cxn>
                <a:cxn ang="0">
                  <a:pos x="38" y="108"/>
                </a:cxn>
                <a:cxn ang="0">
                  <a:pos x="34" y="95"/>
                </a:cxn>
                <a:cxn ang="0">
                  <a:pos x="38" y="86"/>
                </a:cxn>
                <a:cxn ang="0">
                  <a:pos x="29" y="83"/>
                </a:cxn>
                <a:cxn ang="0">
                  <a:pos x="24" y="72"/>
                </a:cxn>
                <a:cxn ang="0">
                  <a:pos x="22" y="64"/>
                </a:cxn>
                <a:cxn ang="0">
                  <a:pos x="19" y="53"/>
                </a:cxn>
                <a:cxn ang="0">
                  <a:pos x="36" y="45"/>
                </a:cxn>
                <a:cxn ang="0">
                  <a:pos x="76" y="21"/>
                </a:cxn>
                <a:cxn ang="0">
                  <a:pos x="108" y="16"/>
                </a:cxn>
              </a:cxnLst>
              <a:rect l="0" t="0" r="r" b="b"/>
              <a:pathLst>
                <a:path w="190" h="285">
                  <a:moveTo>
                    <a:pt x="125" y="0"/>
                  </a:moveTo>
                  <a:lnTo>
                    <a:pt x="130" y="5"/>
                  </a:lnTo>
                  <a:lnTo>
                    <a:pt x="146" y="36"/>
                  </a:lnTo>
                  <a:lnTo>
                    <a:pt x="156" y="46"/>
                  </a:lnTo>
                  <a:lnTo>
                    <a:pt x="165" y="58"/>
                  </a:lnTo>
                  <a:lnTo>
                    <a:pt x="173" y="73"/>
                  </a:lnTo>
                  <a:lnTo>
                    <a:pt x="180" y="91"/>
                  </a:lnTo>
                  <a:lnTo>
                    <a:pt x="184" y="113"/>
                  </a:lnTo>
                  <a:lnTo>
                    <a:pt x="183" y="150"/>
                  </a:lnTo>
                  <a:lnTo>
                    <a:pt x="184" y="170"/>
                  </a:lnTo>
                  <a:lnTo>
                    <a:pt x="190" y="171"/>
                  </a:lnTo>
                  <a:lnTo>
                    <a:pt x="181" y="201"/>
                  </a:lnTo>
                  <a:lnTo>
                    <a:pt x="174" y="217"/>
                  </a:lnTo>
                  <a:lnTo>
                    <a:pt x="163" y="228"/>
                  </a:lnTo>
                  <a:lnTo>
                    <a:pt x="154" y="230"/>
                  </a:lnTo>
                  <a:lnTo>
                    <a:pt x="142" y="233"/>
                  </a:lnTo>
                  <a:lnTo>
                    <a:pt x="135" y="230"/>
                  </a:lnTo>
                  <a:lnTo>
                    <a:pt x="131" y="235"/>
                  </a:lnTo>
                  <a:lnTo>
                    <a:pt x="127" y="242"/>
                  </a:lnTo>
                  <a:lnTo>
                    <a:pt x="120" y="252"/>
                  </a:lnTo>
                  <a:lnTo>
                    <a:pt x="116" y="245"/>
                  </a:lnTo>
                  <a:lnTo>
                    <a:pt x="111" y="245"/>
                  </a:lnTo>
                  <a:lnTo>
                    <a:pt x="101" y="240"/>
                  </a:lnTo>
                  <a:lnTo>
                    <a:pt x="95" y="241"/>
                  </a:lnTo>
                  <a:lnTo>
                    <a:pt x="83" y="246"/>
                  </a:lnTo>
                  <a:lnTo>
                    <a:pt x="88" y="252"/>
                  </a:lnTo>
                  <a:lnTo>
                    <a:pt x="86" y="260"/>
                  </a:lnTo>
                  <a:lnTo>
                    <a:pt x="79" y="263"/>
                  </a:lnTo>
                  <a:lnTo>
                    <a:pt x="76" y="256"/>
                  </a:lnTo>
                  <a:lnTo>
                    <a:pt x="72" y="252"/>
                  </a:lnTo>
                  <a:lnTo>
                    <a:pt x="71" y="268"/>
                  </a:lnTo>
                  <a:lnTo>
                    <a:pt x="66" y="272"/>
                  </a:lnTo>
                  <a:lnTo>
                    <a:pt x="61" y="273"/>
                  </a:lnTo>
                  <a:lnTo>
                    <a:pt x="57" y="269"/>
                  </a:lnTo>
                  <a:lnTo>
                    <a:pt x="65" y="263"/>
                  </a:lnTo>
                  <a:lnTo>
                    <a:pt x="66" y="257"/>
                  </a:lnTo>
                  <a:lnTo>
                    <a:pt x="60" y="260"/>
                  </a:lnTo>
                  <a:lnTo>
                    <a:pt x="51" y="264"/>
                  </a:lnTo>
                  <a:lnTo>
                    <a:pt x="41" y="276"/>
                  </a:lnTo>
                  <a:lnTo>
                    <a:pt x="38" y="276"/>
                  </a:lnTo>
                  <a:lnTo>
                    <a:pt x="35" y="269"/>
                  </a:lnTo>
                  <a:lnTo>
                    <a:pt x="31" y="274"/>
                  </a:lnTo>
                  <a:lnTo>
                    <a:pt x="22" y="283"/>
                  </a:lnTo>
                  <a:lnTo>
                    <a:pt x="20" y="274"/>
                  </a:lnTo>
                  <a:lnTo>
                    <a:pt x="12" y="277"/>
                  </a:lnTo>
                  <a:lnTo>
                    <a:pt x="8" y="285"/>
                  </a:lnTo>
                  <a:lnTo>
                    <a:pt x="4" y="282"/>
                  </a:lnTo>
                  <a:lnTo>
                    <a:pt x="9" y="273"/>
                  </a:lnTo>
                  <a:lnTo>
                    <a:pt x="11" y="263"/>
                  </a:lnTo>
                  <a:lnTo>
                    <a:pt x="22" y="267"/>
                  </a:lnTo>
                  <a:lnTo>
                    <a:pt x="20" y="261"/>
                  </a:lnTo>
                  <a:lnTo>
                    <a:pt x="24" y="253"/>
                  </a:lnTo>
                  <a:lnTo>
                    <a:pt x="19" y="250"/>
                  </a:lnTo>
                  <a:lnTo>
                    <a:pt x="13" y="256"/>
                  </a:lnTo>
                  <a:lnTo>
                    <a:pt x="11" y="247"/>
                  </a:lnTo>
                  <a:lnTo>
                    <a:pt x="15" y="235"/>
                  </a:lnTo>
                  <a:lnTo>
                    <a:pt x="15" y="225"/>
                  </a:lnTo>
                  <a:lnTo>
                    <a:pt x="20" y="212"/>
                  </a:lnTo>
                  <a:lnTo>
                    <a:pt x="27" y="203"/>
                  </a:lnTo>
                  <a:lnTo>
                    <a:pt x="23" y="199"/>
                  </a:lnTo>
                  <a:lnTo>
                    <a:pt x="31" y="193"/>
                  </a:lnTo>
                  <a:lnTo>
                    <a:pt x="34" y="186"/>
                  </a:lnTo>
                  <a:lnTo>
                    <a:pt x="30" y="180"/>
                  </a:lnTo>
                  <a:lnTo>
                    <a:pt x="30" y="174"/>
                  </a:lnTo>
                  <a:lnTo>
                    <a:pt x="24" y="167"/>
                  </a:lnTo>
                  <a:lnTo>
                    <a:pt x="23" y="155"/>
                  </a:lnTo>
                  <a:lnTo>
                    <a:pt x="20" y="143"/>
                  </a:lnTo>
                  <a:lnTo>
                    <a:pt x="19" y="129"/>
                  </a:lnTo>
                  <a:lnTo>
                    <a:pt x="13" y="127"/>
                  </a:lnTo>
                  <a:lnTo>
                    <a:pt x="15" y="139"/>
                  </a:lnTo>
                  <a:lnTo>
                    <a:pt x="11" y="142"/>
                  </a:lnTo>
                  <a:lnTo>
                    <a:pt x="4" y="132"/>
                  </a:lnTo>
                  <a:lnTo>
                    <a:pt x="0" y="132"/>
                  </a:lnTo>
                  <a:lnTo>
                    <a:pt x="1" y="123"/>
                  </a:lnTo>
                  <a:lnTo>
                    <a:pt x="8" y="115"/>
                  </a:lnTo>
                  <a:lnTo>
                    <a:pt x="17" y="115"/>
                  </a:lnTo>
                  <a:lnTo>
                    <a:pt x="29" y="110"/>
                  </a:lnTo>
                  <a:lnTo>
                    <a:pt x="39" y="117"/>
                  </a:lnTo>
                  <a:lnTo>
                    <a:pt x="43" y="118"/>
                  </a:lnTo>
                  <a:lnTo>
                    <a:pt x="38" y="108"/>
                  </a:lnTo>
                  <a:lnTo>
                    <a:pt x="38" y="100"/>
                  </a:lnTo>
                  <a:lnTo>
                    <a:pt x="34" y="95"/>
                  </a:lnTo>
                  <a:lnTo>
                    <a:pt x="35" y="89"/>
                  </a:lnTo>
                  <a:lnTo>
                    <a:pt x="38" y="86"/>
                  </a:lnTo>
                  <a:lnTo>
                    <a:pt x="31" y="81"/>
                  </a:lnTo>
                  <a:lnTo>
                    <a:pt x="29" y="83"/>
                  </a:lnTo>
                  <a:lnTo>
                    <a:pt x="25" y="77"/>
                  </a:lnTo>
                  <a:lnTo>
                    <a:pt x="24" y="72"/>
                  </a:lnTo>
                  <a:lnTo>
                    <a:pt x="28" y="72"/>
                  </a:lnTo>
                  <a:lnTo>
                    <a:pt x="22" y="64"/>
                  </a:lnTo>
                  <a:lnTo>
                    <a:pt x="19" y="58"/>
                  </a:lnTo>
                  <a:lnTo>
                    <a:pt x="19" y="53"/>
                  </a:lnTo>
                  <a:lnTo>
                    <a:pt x="23" y="56"/>
                  </a:lnTo>
                  <a:lnTo>
                    <a:pt x="36" y="45"/>
                  </a:lnTo>
                  <a:lnTo>
                    <a:pt x="58" y="22"/>
                  </a:lnTo>
                  <a:lnTo>
                    <a:pt x="76" y="21"/>
                  </a:lnTo>
                  <a:lnTo>
                    <a:pt x="93" y="22"/>
                  </a:lnTo>
                  <a:lnTo>
                    <a:pt x="108" y="16"/>
                  </a:lnTo>
                  <a:lnTo>
                    <a:pt x="125"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11" name="Freeform 112"/>
            <p:cNvSpPr>
              <a:spLocks noChangeAspect="1"/>
            </p:cNvSpPr>
            <p:nvPr/>
          </p:nvSpPr>
          <p:spPr bwMode="gray">
            <a:xfrm>
              <a:off x="6288877" y="2629245"/>
              <a:ext cx="550863" cy="269875"/>
            </a:xfrm>
            <a:custGeom>
              <a:avLst/>
              <a:gdLst/>
              <a:ahLst/>
              <a:cxnLst>
                <a:cxn ang="0">
                  <a:pos x="46" y="227"/>
                </a:cxn>
                <a:cxn ang="0">
                  <a:pos x="129" y="180"/>
                </a:cxn>
                <a:cxn ang="0">
                  <a:pos x="243" y="132"/>
                </a:cxn>
                <a:cxn ang="0">
                  <a:pos x="313" y="149"/>
                </a:cxn>
                <a:cxn ang="0">
                  <a:pos x="387" y="187"/>
                </a:cxn>
                <a:cxn ang="0">
                  <a:pos x="508" y="190"/>
                </a:cxn>
                <a:cxn ang="0">
                  <a:pos x="552" y="160"/>
                </a:cxn>
                <a:cxn ang="0">
                  <a:pos x="554" y="99"/>
                </a:cxn>
                <a:cxn ang="0">
                  <a:pos x="582" y="33"/>
                </a:cxn>
                <a:cxn ang="0">
                  <a:pos x="645" y="6"/>
                </a:cxn>
                <a:cxn ang="0">
                  <a:pos x="731" y="47"/>
                </a:cxn>
                <a:cxn ang="0">
                  <a:pos x="787" y="103"/>
                </a:cxn>
                <a:cxn ang="0">
                  <a:pos x="830" y="154"/>
                </a:cxn>
                <a:cxn ang="0">
                  <a:pos x="944" y="132"/>
                </a:cxn>
                <a:cxn ang="0">
                  <a:pos x="1034" y="169"/>
                </a:cxn>
                <a:cxn ang="0">
                  <a:pos x="1104" y="201"/>
                </a:cxn>
                <a:cxn ang="0">
                  <a:pos x="1200" y="249"/>
                </a:cxn>
                <a:cxn ang="0">
                  <a:pos x="1317" y="237"/>
                </a:cxn>
                <a:cxn ang="0">
                  <a:pos x="1439" y="179"/>
                </a:cxn>
                <a:cxn ang="0">
                  <a:pos x="1528" y="199"/>
                </a:cxn>
                <a:cxn ang="0">
                  <a:pos x="1565" y="195"/>
                </a:cxn>
                <a:cxn ang="0">
                  <a:pos x="1525" y="255"/>
                </a:cxn>
                <a:cxn ang="0">
                  <a:pos x="1517" y="325"/>
                </a:cxn>
                <a:cxn ang="0">
                  <a:pos x="1570" y="391"/>
                </a:cxn>
                <a:cxn ang="0">
                  <a:pos x="1667" y="348"/>
                </a:cxn>
                <a:cxn ang="0">
                  <a:pos x="1721" y="415"/>
                </a:cxn>
                <a:cxn ang="0">
                  <a:pos x="1734" y="458"/>
                </a:cxn>
                <a:cxn ang="0">
                  <a:pos x="1663" y="461"/>
                </a:cxn>
                <a:cxn ang="0">
                  <a:pos x="1576" y="482"/>
                </a:cxn>
                <a:cxn ang="0">
                  <a:pos x="1489" y="551"/>
                </a:cxn>
                <a:cxn ang="0">
                  <a:pos x="1411" y="611"/>
                </a:cxn>
                <a:cxn ang="0">
                  <a:pos x="1344" y="588"/>
                </a:cxn>
                <a:cxn ang="0">
                  <a:pos x="1298" y="646"/>
                </a:cxn>
                <a:cxn ang="0">
                  <a:pos x="1255" y="752"/>
                </a:cxn>
                <a:cxn ang="0">
                  <a:pos x="1163" y="789"/>
                </a:cxn>
                <a:cxn ang="0">
                  <a:pos x="1088" y="788"/>
                </a:cxn>
                <a:cxn ang="0">
                  <a:pos x="1014" y="815"/>
                </a:cxn>
                <a:cxn ang="0">
                  <a:pos x="942" y="847"/>
                </a:cxn>
                <a:cxn ang="0">
                  <a:pos x="903" y="834"/>
                </a:cxn>
                <a:cxn ang="0">
                  <a:pos x="801" y="805"/>
                </a:cxn>
                <a:cxn ang="0">
                  <a:pos x="744" y="767"/>
                </a:cxn>
                <a:cxn ang="0">
                  <a:pos x="527" y="766"/>
                </a:cxn>
                <a:cxn ang="0">
                  <a:pos x="463" y="730"/>
                </a:cxn>
                <a:cxn ang="0">
                  <a:pos x="421" y="659"/>
                </a:cxn>
                <a:cxn ang="0">
                  <a:pos x="353" y="625"/>
                </a:cxn>
                <a:cxn ang="0">
                  <a:pos x="280" y="590"/>
                </a:cxn>
                <a:cxn ang="0">
                  <a:pos x="211" y="584"/>
                </a:cxn>
                <a:cxn ang="0">
                  <a:pos x="158" y="552"/>
                </a:cxn>
                <a:cxn ang="0">
                  <a:pos x="163" y="470"/>
                </a:cxn>
                <a:cxn ang="0">
                  <a:pos x="124" y="372"/>
                </a:cxn>
                <a:cxn ang="0">
                  <a:pos x="70" y="369"/>
                </a:cxn>
                <a:cxn ang="0">
                  <a:pos x="3" y="288"/>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12" name="Freeform 113"/>
            <p:cNvSpPr>
              <a:spLocks noChangeAspect="1"/>
            </p:cNvSpPr>
            <p:nvPr/>
          </p:nvSpPr>
          <p:spPr bwMode="gray">
            <a:xfrm>
              <a:off x="6650827" y="3335682"/>
              <a:ext cx="41275" cy="36513"/>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13" name="Freeform 114"/>
            <p:cNvSpPr>
              <a:spLocks noChangeAspect="1"/>
            </p:cNvSpPr>
            <p:nvPr/>
          </p:nvSpPr>
          <p:spPr bwMode="gray">
            <a:xfrm>
              <a:off x="6041227" y="2592732"/>
              <a:ext cx="1066799" cy="741363"/>
            </a:xfrm>
            <a:custGeom>
              <a:avLst/>
              <a:gdLst/>
              <a:ahLst/>
              <a:cxnLst>
                <a:cxn ang="0">
                  <a:pos x="2191" y="2191"/>
                </a:cxn>
                <a:cxn ang="0">
                  <a:pos x="2134" y="2244"/>
                </a:cxn>
                <a:cxn ang="0">
                  <a:pos x="2015" y="2329"/>
                </a:cxn>
                <a:cxn ang="0">
                  <a:pos x="1898" y="2261"/>
                </a:cxn>
                <a:cxn ang="0">
                  <a:pos x="1746" y="2168"/>
                </a:cxn>
                <a:cxn ang="0">
                  <a:pos x="1585" y="2194"/>
                </a:cxn>
                <a:cxn ang="0">
                  <a:pos x="1509" y="2247"/>
                </a:cxn>
                <a:cxn ang="0">
                  <a:pos x="1333" y="2120"/>
                </a:cxn>
                <a:cxn ang="0">
                  <a:pos x="1352" y="1901"/>
                </a:cxn>
                <a:cxn ang="0">
                  <a:pos x="1237" y="1793"/>
                </a:cxn>
                <a:cxn ang="0">
                  <a:pos x="1036" y="1874"/>
                </a:cxn>
                <a:cxn ang="0">
                  <a:pos x="881" y="1862"/>
                </a:cxn>
                <a:cxn ang="0">
                  <a:pos x="793" y="1879"/>
                </a:cxn>
                <a:cxn ang="0">
                  <a:pos x="691" y="1881"/>
                </a:cxn>
                <a:cxn ang="0">
                  <a:pos x="603" y="1834"/>
                </a:cxn>
                <a:cxn ang="0">
                  <a:pos x="556" y="1803"/>
                </a:cxn>
                <a:cxn ang="0">
                  <a:pos x="423" y="1731"/>
                </a:cxn>
                <a:cxn ang="0">
                  <a:pos x="348" y="1701"/>
                </a:cxn>
                <a:cxn ang="0">
                  <a:pos x="291" y="1675"/>
                </a:cxn>
                <a:cxn ang="0">
                  <a:pos x="278" y="1580"/>
                </a:cxn>
                <a:cxn ang="0">
                  <a:pos x="322" y="1567"/>
                </a:cxn>
                <a:cxn ang="0">
                  <a:pos x="300" y="1492"/>
                </a:cxn>
                <a:cxn ang="0">
                  <a:pos x="360" y="1411"/>
                </a:cxn>
                <a:cxn ang="0">
                  <a:pos x="326" y="1368"/>
                </a:cxn>
                <a:cxn ang="0">
                  <a:pos x="230" y="1391"/>
                </a:cxn>
                <a:cxn ang="0">
                  <a:pos x="126" y="1355"/>
                </a:cxn>
                <a:cxn ang="0">
                  <a:pos x="88" y="1295"/>
                </a:cxn>
                <a:cxn ang="0">
                  <a:pos x="63" y="1212"/>
                </a:cxn>
                <a:cxn ang="0">
                  <a:pos x="105" y="1043"/>
                </a:cxn>
                <a:cxn ang="0">
                  <a:pos x="364" y="920"/>
                </a:cxn>
                <a:cxn ang="0">
                  <a:pos x="471" y="693"/>
                </a:cxn>
                <a:cxn ang="0">
                  <a:pos x="656" y="507"/>
                </a:cxn>
                <a:cxn ang="0">
                  <a:pos x="854" y="474"/>
                </a:cxn>
                <a:cxn ang="0">
                  <a:pos x="1031" y="711"/>
                </a:cxn>
                <a:cxn ang="0">
                  <a:pos x="1283" y="882"/>
                </a:cxn>
                <a:cxn ang="0">
                  <a:pos x="1719" y="963"/>
                </a:cxn>
                <a:cxn ang="0">
                  <a:pos x="2042" y="854"/>
                </a:cxn>
                <a:cxn ang="0">
                  <a:pos x="2284" y="666"/>
                </a:cxn>
                <a:cxn ang="0">
                  <a:pos x="2450" y="478"/>
                </a:cxn>
                <a:cxn ang="0">
                  <a:pos x="2342" y="311"/>
                </a:cxn>
                <a:cxn ang="0">
                  <a:pos x="2557" y="161"/>
                </a:cxn>
                <a:cxn ang="0">
                  <a:pos x="2738" y="0"/>
                </a:cxn>
                <a:cxn ang="0">
                  <a:pos x="2901" y="155"/>
                </a:cxn>
                <a:cxn ang="0">
                  <a:pos x="3109" y="394"/>
                </a:cxn>
                <a:cxn ang="0">
                  <a:pos x="3323" y="441"/>
                </a:cxn>
                <a:cxn ang="0">
                  <a:pos x="3195" y="693"/>
                </a:cxn>
                <a:cxn ang="0">
                  <a:pos x="2994" y="941"/>
                </a:cxn>
                <a:cxn ang="0">
                  <a:pos x="2729" y="1097"/>
                </a:cxn>
                <a:cxn ang="0">
                  <a:pos x="2616" y="1118"/>
                </a:cxn>
                <a:cxn ang="0">
                  <a:pos x="2542" y="1082"/>
                </a:cxn>
                <a:cxn ang="0">
                  <a:pos x="2444" y="1221"/>
                </a:cxn>
                <a:cxn ang="0">
                  <a:pos x="2611" y="1254"/>
                </a:cxn>
                <a:cxn ang="0">
                  <a:pos x="2643" y="1301"/>
                </a:cxn>
                <a:cxn ang="0">
                  <a:pos x="2521" y="1404"/>
                </a:cxn>
                <a:cxn ang="0">
                  <a:pos x="2646" y="1642"/>
                </a:cxn>
                <a:cxn ang="0">
                  <a:pos x="2640" y="1677"/>
                </a:cxn>
                <a:cxn ang="0">
                  <a:pos x="2624" y="1743"/>
                </a:cxn>
                <a:cxn ang="0">
                  <a:pos x="2628" y="1814"/>
                </a:cxn>
                <a:cxn ang="0">
                  <a:pos x="2555" y="1933"/>
                </a:cxn>
                <a:cxn ang="0">
                  <a:pos x="2512" y="2028"/>
                </a:cxn>
                <a:cxn ang="0">
                  <a:pos x="2435" y="2097"/>
                </a:cxn>
                <a:cxn ang="0">
                  <a:pos x="2344" y="2177"/>
                </a:cxn>
                <a:cxn ang="0">
                  <a:pos x="2245" y="2202"/>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chemeClr val="accent6">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14" name="Freeform 115"/>
            <p:cNvSpPr>
              <a:spLocks noChangeAspect="1"/>
            </p:cNvSpPr>
            <p:nvPr/>
          </p:nvSpPr>
          <p:spPr bwMode="gray">
            <a:xfrm>
              <a:off x="6925464" y="2867370"/>
              <a:ext cx="109538" cy="120650"/>
            </a:xfrm>
            <a:custGeom>
              <a:avLst/>
              <a:gdLst/>
              <a:ahLst/>
              <a:cxnLst>
                <a:cxn ang="0">
                  <a:pos x="220" y="310"/>
                </a:cxn>
                <a:cxn ang="0">
                  <a:pos x="185" y="277"/>
                </a:cxn>
                <a:cxn ang="0">
                  <a:pos x="169" y="266"/>
                </a:cxn>
                <a:cxn ang="0">
                  <a:pos x="174" y="262"/>
                </a:cxn>
                <a:cxn ang="0">
                  <a:pos x="174" y="236"/>
                </a:cxn>
                <a:cxn ang="0">
                  <a:pos x="186" y="226"/>
                </a:cxn>
                <a:cxn ang="0">
                  <a:pos x="199" y="212"/>
                </a:cxn>
                <a:cxn ang="0">
                  <a:pos x="235" y="200"/>
                </a:cxn>
                <a:cxn ang="0">
                  <a:pos x="257" y="181"/>
                </a:cxn>
                <a:cxn ang="0">
                  <a:pos x="289" y="155"/>
                </a:cxn>
                <a:cxn ang="0">
                  <a:pos x="297" y="121"/>
                </a:cxn>
                <a:cxn ang="0">
                  <a:pos x="295" y="101"/>
                </a:cxn>
                <a:cxn ang="0">
                  <a:pos x="308" y="80"/>
                </a:cxn>
                <a:cxn ang="0">
                  <a:pos x="342" y="46"/>
                </a:cxn>
                <a:cxn ang="0">
                  <a:pos x="347" y="41"/>
                </a:cxn>
                <a:cxn ang="0">
                  <a:pos x="343" y="27"/>
                </a:cxn>
                <a:cxn ang="0">
                  <a:pos x="327" y="11"/>
                </a:cxn>
                <a:cxn ang="0">
                  <a:pos x="305" y="9"/>
                </a:cxn>
                <a:cxn ang="0">
                  <a:pos x="288" y="44"/>
                </a:cxn>
                <a:cxn ang="0">
                  <a:pos x="233" y="74"/>
                </a:cxn>
                <a:cxn ang="0">
                  <a:pos x="208" y="83"/>
                </a:cxn>
                <a:cxn ang="0">
                  <a:pos x="172" y="118"/>
                </a:cxn>
                <a:cxn ang="0">
                  <a:pos x="139" y="103"/>
                </a:cxn>
                <a:cxn ang="0">
                  <a:pos x="102" y="142"/>
                </a:cxn>
                <a:cxn ang="0">
                  <a:pos x="45" y="178"/>
                </a:cxn>
                <a:cxn ang="0">
                  <a:pos x="2" y="220"/>
                </a:cxn>
                <a:cxn ang="0">
                  <a:pos x="13" y="235"/>
                </a:cxn>
                <a:cxn ang="0">
                  <a:pos x="30" y="239"/>
                </a:cxn>
                <a:cxn ang="0">
                  <a:pos x="57" y="245"/>
                </a:cxn>
                <a:cxn ang="0">
                  <a:pos x="59" y="258"/>
                </a:cxn>
                <a:cxn ang="0">
                  <a:pos x="50" y="301"/>
                </a:cxn>
                <a:cxn ang="0">
                  <a:pos x="59" y="307"/>
                </a:cxn>
                <a:cxn ang="0">
                  <a:pos x="43" y="320"/>
                </a:cxn>
                <a:cxn ang="0">
                  <a:pos x="32" y="339"/>
                </a:cxn>
                <a:cxn ang="0">
                  <a:pos x="40" y="353"/>
                </a:cxn>
                <a:cxn ang="0">
                  <a:pos x="48" y="355"/>
                </a:cxn>
                <a:cxn ang="0">
                  <a:pos x="40" y="361"/>
                </a:cxn>
                <a:cxn ang="0">
                  <a:pos x="47" y="366"/>
                </a:cxn>
                <a:cxn ang="0">
                  <a:pos x="53" y="377"/>
                </a:cxn>
                <a:cxn ang="0">
                  <a:pos x="64" y="372"/>
                </a:cxn>
                <a:cxn ang="0">
                  <a:pos x="74" y="360"/>
                </a:cxn>
                <a:cxn ang="0">
                  <a:pos x="78" y="356"/>
                </a:cxn>
                <a:cxn ang="0">
                  <a:pos x="91" y="368"/>
                </a:cxn>
                <a:cxn ang="0">
                  <a:pos x="102" y="369"/>
                </a:cxn>
                <a:cxn ang="0">
                  <a:pos x="121" y="374"/>
                </a:cxn>
                <a:cxn ang="0">
                  <a:pos x="156" y="340"/>
                </a:cxn>
                <a:cxn ang="0">
                  <a:pos x="191" y="340"/>
                </a:cxn>
                <a:cxn ang="0">
                  <a:pos x="223" y="318"/>
                </a:cxn>
              </a:cxnLst>
              <a:rect l="0" t="0" r="r" b="b"/>
              <a:pathLst>
                <a:path w="349" h="377">
                  <a:moveTo>
                    <a:pt x="223" y="318"/>
                  </a:moveTo>
                  <a:lnTo>
                    <a:pt x="220" y="310"/>
                  </a:lnTo>
                  <a:lnTo>
                    <a:pt x="196" y="290"/>
                  </a:lnTo>
                  <a:lnTo>
                    <a:pt x="185" y="277"/>
                  </a:lnTo>
                  <a:lnTo>
                    <a:pt x="171" y="272"/>
                  </a:lnTo>
                  <a:lnTo>
                    <a:pt x="169" y="266"/>
                  </a:lnTo>
                  <a:lnTo>
                    <a:pt x="174" y="253"/>
                  </a:lnTo>
                  <a:lnTo>
                    <a:pt x="174" y="262"/>
                  </a:lnTo>
                  <a:lnTo>
                    <a:pt x="175" y="255"/>
                  </a:lnTo>
                  <a:lnTo>
                    <a:pt x="174" y="236"/>
                  </a:lnTo>
                  <a:lnTo>
                    <a:pt x="175" y="229"/>
                  </a:lnTo>
                  <a:lnTo>
                    <a:pt x="186" y="226"/>
                  </a:lnTo>
                  <a:lnTo>
                    <a:pt x="196" y="220"/>
                  </a:lnTo>
                  <a:lnTo>
                    <a:pt x="199" y="212"/>
                  </a:lnTo>
                  <a:lnTo>
                    <a:pt x="223" y="209"/>
                  </a:lnTo>
                  <a:lnTo>
                    <a:pt x="235" y="200"/>
                  </a:lnTo>
                  <a:lnTo>
                    <a:pt x="239" y="194"/>
                  </a:lnTo>
                  <a:lnTo>
                    <a:pt x="257" y="181"/>
                  </a:lnTo>
                  <a:lnTo>
                    <a:pt x="274" y="162"/>
                  </a:lnTo>
                  <a:lnTo>
                    <a:pt x="289" y="155"/>
                  </a:lnTo>
                  <a:lnTo>
                    <a:pt x="295" y="150"/>
                  </a:lnTo>
                  <a:lnTo>
                    <a:pt x="297" y="121"/>
                  </a:lnTo>
                  <a:lnTo>
                    <a:pt x="293" y="112"/>
                  </a:lnTo>
                  <a:lnTo>
                    <a:pt x="295" y="101"/>
                  </a:lnTo>
                  <a:lnTo>
                    <a:pt x="304" y="87"/>
                  </a:lnTo>
                  <a:lnTo>
                    <a:pt x="308" y="80"/>
                  </a:lnTo>
                  <a:lnTo>
                    <a:pt x="335" y="49"/>
                  </a:lnTo>
                  <a:lnTo>
                    <a:pt x="342" y="46"/>
                  </a:lnTo>
                  <a:lnTo>
                    <a:pt x="349" y="48"/>
                  </a:lnTo>
                  <a:lnTo>
                    <a:pt x="347" y="41"/>
                  </a:lnTo>
                  <a:lnTo>
                    <a:pt x="343" y="33"/>
                  </a:lnTo>
                  <a:lnTo>
                    <a:pt x="343" y="27"/>
                  </a:lnTo>
                  <a:lnTo>
                    <a:pt x="335" y="26"/>
                  </a:lnTo>
                  <a:lnTo>
                    <a:pt x="327" y="11"/>
                  </a:lnTo>
                  <a:lnTo>
                    <a:pt x="316" y="0"/>
                  </a:lnTo>
                  <a:lnTo>
                    <a:pt x="305" y="9"/>
                  </a:lnTo>
                  <a:lnTo>
                    <a:pt x="298" y="29"/>
                  </a:lnTo>
                  <a:lnTo>
                    <a:pt x="288" y="44"/>
                  </a:lnTo>
                  <a:lnTo>
                    <a:pt x="257" y="68"/>
                  </a:lnTo>
                  <a:lnTo>
                    <a:pt x="233" y="74"/>
                  </a:lnTo>
                  <a:lnTo>
                    <a:pt x="213" y="74"/>
                  </a:lnTo>
                  <a:lnTo>
                    <a:pt x="208" y="83"/>
                  </a:lnTo>
                  <a:lnTo>
                    <a:pt x="214" y="114"/>
                  </a:lnTo>
                  <a:lnTo>
                    <a:pt x="172" y="118"/>
                  </a:lnTo>
                  <a:lnTo>
                    <a:pt x="158" y="108"/>
                  </a:lnTo>
                  <a:lnTo>
                    <a:pt x="139" y="103"/>
                  </a:lnTo>
                  <a:lnTo>
                    <a:pt x="127" y="113"/>
                  </a:lnTo>
                  <a:lnTo>
                    <a:pt x="102" y="142"/>
                  </a:lnTo>
                  <a:lnTo>
                    <a:pt x="84" y="157"/>
                  </a:lnTo>
                  <a:lnTo>
                    <a:pt x="45" y="178"/>
                  </a:lnTo>
                  <a:lnTo>
                    <a:pt x="30" y="185"/>
                  </a:lnTo>
                  <a:lnTo>
                    <a:pt x="2" y="220"/>
                  </a:lnTo>
                  <a:lnTo>
                    <a:pt x="0" y="224"/>
                  </a:lnTo>
                  <a:lnTo>
                    <a:pt x="13" y="235"/>
                  </a:lnTo>
                  <a:lnTo>
                    <a:pt x="16" y="246"/>
                  </a:lnTo>
                  <a:lnTo>
                    <a:pt x="30" y="239"/>
                  </a:lnTo>
                  <a:lnTo>
                    <a:pt x="42" y="243"/>
                  </a:lnTo>
                  <a:lnTo>
                    <a:pt x="57" y="245"/>
                  </a:lnTo>
                  <a:lnTo>
                    <a:pt x="63" y="248"/>
                  </a:lnTo>
                  <a:lnTo>
                    <a:pt x="59" y="258"/>
                  </a:lnTo>
                  <a:lnTo>
                    <a:pt x="56" y="278"/>
                  </a:lnTo>
                  <a:lnTo>
                    <a:pt x="50" y="301"/>
                  </a:lnTo>
                  <a:lnTo>
                    <a:pt x="52" y="307"/>
                  </a:lnTo>
                  <a:lnTo>
                    <a:pt x="59" y="307"/>
                  </a:lnTo>
                  <a:lnTo>
                    <a:pt x="45" y="315"/>
                  </a:lnTo>
                  <a:lnTo>
                    <a:pt x="43" y="320"/>
                  </a:lnTo>
                  <a:lnTo>
                    <a:pt x="37" y="323"/>
                  </a:lnTo>
                  <a:lnTo>
                    <a:pt x="32" y="339"/>
                  </a:lnTo>
                  <a:lnTo>
                    <a:pt x="24" y="352"/>
                  </a:lnTo>
                  <a:lnTo>
                    <a:pt x="40" y="353"/>
                  </a:lnTo>
                  <a:lnTo>
                    <a:pt x="50" y="350"/>
                  </a:lnTo>
                  <a:lnTo>
                    <a:pt x="48" y="355"/>
                  </a:lnTo>
                  <a:lnTo>
                    <a:pt x="45" y="361"/>
                  </a:lnTo>
                  <a:lnTo>
                    <a:pt x="40" y="361"/>
                  </a:lnTo>
                  <a:lnTo>
                    <a:pt x="41" y="368"/>
                  </a:lnTo>
                  <a:lnTo>
                    <a:pt x="47" y="366"/>
                  </a:lnTo>
                  <a:lnTo>
                    <a:pt x="51" y="376"/>
                  </a:lnTo>
                  <a:lnTo>
                    <a:pt x="53" y="377"/>
                  </a:lnTo>
                  <a:lnTo>
                    <a:pt x="61" y="377"/>
                  </a:lnTo>
                  <a:lnTo>
                    <a:pt x="64" y="372"/>
                  </a:lnTo>
                  <a:lnTo>
                    <a:pt x="71" y="370"/>
                  </a:lnTo>
                  <a:lnTo>
                    <a:pt x="74" y="360"/>
                  </a:lnTo>
                  <a:lnTo>
                    <a:pt x="72" y="355"/>
                  </a:lnTo>
                  <a:lnTo>
                    <a:pt x="78" y="356"/>
                  </a:lnTo>
                  <a:lnTo>
                    <a:pt x="84" y="365"/>
                  </a:lnTo>
                  <a:lnTo>
                    <a:pt x="91" y="368"/>
                  </a:lnTo>
                  <a:lnTo>
                    <a:pt x="99" y="374"/>
                  </a:lnTo>
                  <a:lnTo>
                    <a:pt x="102" y="369"/>
                  </a:lnTo>
                  <a:lnTo>
                    <a:pt x="113" y="365"/>
                  </a:lnTo>
                  <a:lnTo>
                    <a:pt x="121" y="374"/>
                  </a:lnTo>
                  <a:lnTo>
                    <a:pt x="134" y="363"/>
                  </a:lnTo>
                  <a:lnTo>
                    <a:pt x="156" y="340"/>
                  </a:lnTo>
                  <a:lnTo>
                    <a:pt x="174" y="339"/>
                  </a:lnTo>
                  <a:lnTo>
                    <a:pt x="191" y="340"/>
                  </a:lnTo>
                  <a:lnTo>
                    <a:pt x="206" y="334"/>
                  </a:lnTo>
                  <a:lnTo>
                    <a:pt x="223" y="31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815" name="Group 116"/>
            <p:cNvGrpSpPr>
              <a:grpSpLocks noChangeAspect="1"/>
            </p:cNvGrpSpPr>
            <p:nvPr/>
          </p:nvGrpSpPr>
          <p:grpSpPr bwMode="gray">
            <a:xfrm>
              <a:off x="5099839" y="1476721"/>
              <a:ext cx="2973386" cy="1430337"/>
              <a:chOff x="2730" y="1091"/>
              <a:chExt cx="1873" cy="901"/>
            </a:xfrm>
            <a:grpFill/>
          </p:grpSpPr>
          <p:grpSp>
            <p:nvGrpSpPr>
              <p:cNvPr id="1073" name="Group 117"/>
              <p:cNvGrpSpPr>
                <a:grpSpLocks noChangeAspect="1"/>
              </p:cNvGrpSpPr>
              <p:nvPr/>
            </p:nvGrpSpPr>
            <p:grpSpPr bwMode="gray">
              <a:xfrm>
                <a:off x="3044" y="1129"/>
                <a:ext cx="1473" cy="312"/>
                <a:chOff x="3044" y="1129"/>
                <a:chExt cx="1473" cy="312"/>
              </a:xfrm>
              <a:grpFill/>
            </p:grpSpPr>
            <p:sp>
              <p:nvSpPr>
                <p:cNvPr id="1077" name="Freeform 118"/>
                <p:cNvSpPr>
                  <a:spLocks noChangeAspect="1"/>
                </p:cNvSpPr>
                <p:nvPr/>
              </p:nvSpPr>
              <p:spPr bwMode="gray">
                <a:xfrm>
                  <a:off x="3044" y="1416"/>
                  <a:ext cx="23" cy="25"/>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78" name="Freeform 120"/>
                <p:cNvSpPr>
                  <a:spLocks noChangeAspect="1"/>
                </p:cNvSpPr>
                <p:nvPr/>
              </p:nvSpPr>
              <p:spPr bwMode="gray">
                <a:xfrm>
                  <a:off x="4015" y="1163"/>
                  <a:ext cx="73" cy="67"/>
                </a:xfrm>
                <a:custGeom>
                  <a:avLst/>
                  <a:gdLst/>
                  <a:ahLst/>
                  <a:cxnLst>
                    <a:cxn ang="0">
                      <a:pos x="179" y="89"/>
                    </a:cxn>
                    <a:cxn ang="0">
                      <a:pos x="185" y="89"/>
                    </a:cxn>
                    <a:cxn ang="0">
                      <a:pos x="200" y="103"/>
                    </a:cxn>
                    <a:cxn ang="0">
                      <a:pos x="194" y="120"/>
                    </a:cxn>
                    <a:cxn ang="0">
                      <a:pos x="195" y="127"/>
                    </a:cxn>
                    <a:cxn ang="0">
                      <a:pos x="205" y="132"/>
                    </a:cxn>
                    <a:cxn ang="0">
                      <a:pos x="216" y="133"/>
                    </a:cxn>
                    <a:cxn ang="0">
                      <a:pos x="228" y="133"/>
                    </a:cxn>
                    <a:cxn ang="0">
                      <a:pos x="233" y="103"/>
                    </a:cxn>
                    <a:cxn ang="0">
                      <a:pos x="225" y="60"/>
                    </a:cxn>
                    <a:cxn ang="0">
                      <a:pos x="235" y="34"/>
                    </a:cxn>
                    <a:cxn ang="0">
                      <a:pos x="268" y="49"/>
                    </a:cxn>
                    <a:cxn ang="0">
                      <a:pos x="290" y="89"/>
                    </a:cxn>
                    <a:cxn ang="0">
                      <a:pos x="307" y="109"/>
                    </a:cxn>
                    <a:cxn ang="0">
                      <a:pos x="314" y="127"/>
                    </a:cxn>
                    <a:cxn ang="0">
                      <a:pos x="309" y="151"/>
                    </a:cxn>
                    <a:cxn ang="0">
                      <a:pos x="300" y="170"/>
                    </a:cxn>
                    <a:cxn ang="0">
                      <a:pos x="296" y="191"/>
                    </a:cxn>
                    <a:cxn ang="0">
                      <a:pos x="309" y="234"/>
                    </a:cxn>
                    <a:cxn ang="0">
                      <a:pos x="344" y="259"/>
                    </a:cxn>
                    <a:cxn ang="0">
                      <a:pos x="365" y="280"/>
                    </a:cxn>
                    <a:cxn ang="0">
                      <a:pos x="343" y="289"/>
                    </a:cxn>
                    <a:cxn ang="0">
                      <a:pos x="314" y="287"/>
                    </a:cxn>
                    <a:cxn ang="0">
                      <a:pos x="305" y="302"/>
                    </a:cxn>
                    <a:cxn ang="0">
                      <a:pos x="287" y="272"/>
                    </a:cxn>
                    <a:cxn ang="0">
                      <a:pos x="279" y="253"/>
                    </a:cxn>
                    <a:cxn ang="0">
                      <a:pos x="238" y="280"/>
                    </a:cxn>
                    <a:cxn ang="0">
                      <a:pos x="211" y="301"/>
                    </a:cxn>
                    <a:cxn ang="0">
                      <a:pos x="174" y="310"/>
                    </a:cxn>
                    <a:cxn ang="0">
                      <a:pos x="172" y="303"/>
                    </a:cxn>
                    <a:cxn ang="0">
                      <a:pos x="169" y="289"/>
                    </a:cxn>
                    <a:cxn ang="0">
                      <a:pos x="162" y="256"/>
                    </a:cxn>
                    <a:cxn ang="0">
                      <a:pos x="146" y="288"/>
                    </a:cxn>
                    <a:cxn ang="0">
                      <a:pos x="150" y="298"/>
                    </a:cxn>
                    <a:cxn ang="0">
                      <a:pos x="140" y="331"/>
                    </a:cxn>
                    <a:cxn ang="0">
                      <a:pos x="113" y="324"/>
                    </a:cxn>
                    <a:cxn ang="0">
                      <a:pos x="70" y="307"/>
                    </a:cxn>
                    <a:cxn ang="0">
                      <a:pos x="54" y="260"/>
                    </a:cxn>
                    <a:cxn ang="0">
                      <a:pos x="15" y="242"/>
                    </a:cxn>
                    <a:cxn ang="0">
                      <a:pos x="0" y="196"/>
                    </a:cxn>
                    <a:cxn ang="0">
                      <a:pos x="20" y="196"/>
                    </a:cxn>
                    <a:cxn ang="0">
                      <a:pos x="27" y="179"/>
                    </a:cxn>
                    <a:cxn ang="0">
                      <a:pos x="15" y="176"/>
                    </a:cxn>
                    <a:cxn ang="0">
                      <a:pos x="26" y="173"/>
                    </a:cxn>
                    <a:cxn ang="0">
                      <a:pos x="13" y="152"/>
                    </a:cxn>
                    <a:cxn ang="0">
                      <a:pos x="8" y="140"/>
                    </a:cxn>
                    <a:cxn ang="0">
                      <a:pos x="21" y="143"/>
                    </a:cxn>
                    <a:cxn ang="0">
                      <a:pos x="17" y="122"/>
                    </a:cxn>
                    <a:cxn ang="0">
                      <a:pos x="26" y="99"/>
                    </a:cxn>
                    <a:cxn ang="0">
                      <a:pos x="44" y="95"/>
                    </a:cxn>
                    <a:cxn ang="0">
                      <a:pos x="33" y="88"/>
                    </a:cxn>
                    <a:cxn ang="0">
                      <a:pos x="26" y="67"/>
                    </a:cxn>
                    <a:cxn ang="0">
                      <a:pos x="36" y="51"/>
                    </a:cxn>
                    <a:cxn ang="0">
                      <a:pos x="67" y="43"/>
                    </a:cxn>
                    <a:cxn ang="0">
                      <a:pos x="80" y="22"/>
                    </a:cxn>
                    <a:cxn ang="0">
                      <a:pos x="119" y="0"/>
                    </a:cxn>
                    <a:cxn ang="0">
                      <a:pos x="117" y="13"/>
                    </a:cxn>
                    <a:cxn ang="0">
                      <a:pos x="146" y="54"/>
                    </a:cxn>
                    <a:cxn ang="0">
                      <a:pos x="160" y="54"/>
                    </a:cxn>
                    <a:cxn ang="0">
                      <a:pos x="169" y="68"/>
                    </a:cxn>
                    <a:cxn ang="0">
                      <a:pos x="168" y="87"/>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79" name="Freeform 121"/>
                <p:cNvSpPr>
                  <a:spLocks noChangeAspect="1"/>
                </p:cNvSpPr>
                <p:nvPr/>
              </p:nvSpPr>
              <p:spPr bwMode="gray">
                <a:xfrm>
                  <a:off x="4066" y="1166"/>
                  <a:ext cx="44" cy="50"/>
                </a:xfrm>
                <a:custGeom>
                  <a:avLst/>
                  <a:gdLst/>
                  <a:ahLst/>
                  <a:cxnLst>
                    <a:cxn ang="0">
                      <a:pos x="0" y="0"/>
                    </a:cxn>
                    <a:cxn ang="0">
                      <a:pos x="16" y="8"/>
                    </a:cxn>
                    <a:cxn ang="0">
                      <a:pos x="32" y="30"/>
                    </a:cxn>
                    <a:cxn ang="0">
                      <a:pos x="42" y="38"/>
                    </a:cxn>
                    <a:cxn ang="0">
                      <a:pos x="56" y="59"/>
                    </a:cxn>
                    <a:cxn ang="0">
                      <a:pos x="64" y="66"/>
                    </a:cxn>
                    <a:cxn ang="0">
                      <a:pos x="89" y="71"/>
                    </a:cxn>
                    <a:cxn ang="0">
                      <a:pos x="106" y="59"/>
                    </a:cxn>
                    <a:cxn ang="0">
                      <a:pos x="116" y="56"/>
                    </a:cxn>
                    <a:cxn ang="0">
                      <a:pos x="138" y="64"/>
                    </a:cxn>
                    <a:cxn ang="0">
                      <a:pos x="152" y="89"/>
                    </a:cxn>
                    <a:cxn ang="0">
                      <a:pos x="169" y="97"/>
                    </a:cxn>
                    <a:cxn ang="0">
                      <a:pos x="182" y="110"/>
                    </a:cxn>
                    <a:cxn ang="0">
                      <a:pos x="201" y="120"/>
                    </a:cxn>
                    <a:cxn ang="0">
                      <a:pos x="215" y="136"/>
                    </a:cxn>
                    <a:cxn ang="0">
                      <a:pos x="222" y="136"/>
                    </a:cxn>
                    <a:cxn ang="0">
                      <a:pos x="224" y="145"/>
                    </a:cxn>
                    <a:cxn ang="0">
                      <a:pos x="206" y="142"/>
                    </a:cxn>
                    <a:cxn ang="0">
                      <a:pos x="197" y="146"/>
                    </a:cxn>
                    <a:cxn ang="0">
                      <a:pos x="193" y="155"/>
                    </a:cxn>
                    <a:cxn ang="0">
                      <a:pos x="181" y="156"/>
                    </a:cxn>
                    <a:cxn ang="0">
                      <a:pos x="185" y="161"/>
                    </a:cxn>
                    <a:cxn ang="0">
                      <a:pos x="182" y="169"/>
                    </a:cxn>
                    <a:cxn ang="0">
                      <a:pos x="182" y="183"/>
                    </a:cxn>
                    <a:cxn ang="0">
                      <a:pos x="188" y="194"/>
                    </a:cxn>
                    <a:cxn ang="0">
                      <a:pos x="183" y="200"/>
                    </a:cxn>
                    <a:cxn ang="0">
                      <a:pos x="180" y="217"/>
                    </a:cxn>
                    <a:cxn ang="0">
                      <a:pos x="167" y="226"/>
                    </a:cxn>
                    <a:cxn ang="0">
                      <a:pos x="163" y="232"/>
                    </a:cxn>
                    <a:cxn ang="0">
                      <a:pos x="138" y="248"/>
                    </a:cxn>
                    <a:cxn ang="0">
                      <a:pos x="128" y="241"/>
                    </a:cxn>
                    <a:cxn ang="0">
                      <a:pos x="91" y="233"/>
                    </a:cxn>
                    <a:cxn ang="0">
                      <a:pos x="77" y="222"/>
                    </a:cxn>
                    <a:cxn ang="0">
                      <a:pos x="54" y="164"/>
                    </a:cxn>
                    <a:cxn ang="0">
                      <a:pos x="56" y="147"/>
                    </a:cxn>
                    <a:cxn ang="0">
                      <a:pos x="69" y="108"/>
                    </a:cxn>
                    <a:cxn ang="0">
                      <a:pos x="73" y="85"/>
                    </a:cxn>
                    <a:cxn ang="0">
                      <a:pos x="64" y="85"/>
                    </a:cxn>
                    <a:cxn ang="0">
                      <a:pos x="61" y="73"/>
                    </a:cxn>
                    <a:cxn ang="0">
                      <a:pos x="16" y="19"/>
                    </a:cxn>
                    <a:cxn ang="0">
                      <a:pos x="8" y="12"/>
                    </a:cxn>
                    <a:cxn ang="0">
                      <a:pos x="0" y="0"/>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80" name="Freeform 122"/>
                <p:cNvSpPr>
                  <a:spLocks noChangeAspect="1"/>
                </p:cNvSpPr>
                <p:nvPr/>
              </p:nvSpPr>
              <p:spPr bwMode="gray">
                <a:xfrm>
                  <a:off x="4119" y="1193"/>
                  <a:ext cx="54" cy="36"/>
                </a:xfrm>
                <a:custGeom>
                  <a:avLst/>
                  <a:gdLst/>
                  <a:ahLst/>
                  <a:cxnLst>
                    <a:cxn ang="0">
                      <a:pos x="3" y="0"/>
                    </a:cxn>
                    <a:cxn ang="0">
                      <a:pos x="9" y="6"/>
                    </a:cxn>
                    <a:cxn ang="0">
                      <a:pos x="19" y="10"/>
                    </a:cxn>
                    <a:cxn ang="0">
                      <a:pos x="24" y="15"/>
                    </a:cxn>
                    <a:cxn ang="0">
                      <a:pos x="26" y="25"/>
                    </a:cxn>
                    <a:cxn ang="0">
                      <a:pos x="36" y="30"/>
                    </a:cxn>
                    <a:cxn ang="0">
                      <a:pos x="51" y="33"/>
                    </a:cxn>
                    <a:cxn ang="0">
                      <a:pos x="66" y="35"/>
                    </a:cxn>
                    <a:cxn ang="0">
                      <a:pos x="73" y="31"/>
                    </a:cxn>
                    <a:cxn ang="0">
                      <a:pos x="127" y="41"/>
                    </a:cxn>
                    <a:cxn ang="0">
                      <a:pos x="129" y="49"/>
                    </a:cxn>
                    <a:cxn ang="0">
                      <a:pos x="122" y="49"/>
                    </a:cxn>
                    <a:cxn ang="0">
                      <a:pos x="121" y="55"/>
                    </a:cxn>
                    <a:cxn ang="0">
                      <a:pos x="109" y="67"/>
                    </a:cxn>
                    <a:cxn ang="0">
                      <a:pos x="132" y="64"/>
                    </a:cxn>
                    <a:cxn ang="0">
                      <a:pos x="154" y="68"/>
                    </a:cxn>
                    <a:cxn ang="0">
                      <a:pos x="163" y="62"/>
                    </a:cxn>
                    <a:cxn ang="0">
                      <a:pos x="172" y="62"/>
                    </a:cxn>
                    <a:cxn ang="0">
                      <a:pos x="182" y="68"/>
                    </a:cxn>
                    <a:cxn ang="0">
                      <a:pos x="188" y="79"/>
                    </a:cxn>
                    <a:cxn ang="0">
                      <a:pos x="207" y="75"/>
                    </a:cxn>
                    <a:cxn ang="0">
                      <a:pos x="218" y="79"/>
                    </a:cxn>
                    <a:cxn ang="0">
                      <a:pos x="225" y="91"/>
                    </a:cxn>
                    <a:cxn ang="0">
                      <a:pos x="266" y="100"/>
                    </a:cxn>
                    <a:cxn ang="0">
                      <a:pos x="256" y="108"/>
                    </a:cxn>
                    <a:cxn ang="0">
                      <a:pos x="257" y="135"/>
                    </a:cxn>
                    <a:cxn ang="0">
                      <a:pos x="245" y="154"/>
                    </a:cxn>
                    <a:cxn ang="0">
                      <a:pos x="208" y="176"/>
                    </a:cxn>
                    <a:cxn ang="0">
                      <a:pos x="198" y="180"/>
                    </a:cxn>
                    <a:cxn ang="0">
                      <a:pos x="191" y="171"/>
                    </a:cxn>
                    <a:cxn ang="0">
                      <a:pos x="186" y="176"/>
                    </a:cxn>
                    <a:cxn ang="0">
                      <a:pos x="179" y="173"/>
                    </a:cxn>
                    <a:cxn ang="0">
                      <a:pos x="174" y="164"/>
                    </a:cxn>
                    <a:cxn ang="0">
                      <a:pos x="171" y="175"/>
                    </a:cxn>
                    <a:cxn ang="0">
                      <a:pos x="160" y="175"/>
                    </a:cxn>
                    <a:cxn ang="0">
                      <a:pos x="144" y="170"/>
                    </a:cxn>
                    <a:cxn ang="0">
                      <a:pos x="133" y="156"/>
                    </a:cxn>
                    <a:cxn ang="0">
                      <a:pos x="117" y="156"/>
                    </a:cxn>
                    <a:cxn ang="0">
                      <a:pos x="104" y="151"/>
                    </a:cxn>
                    <a:cxn ang="0">
                      <a:pos x="95" y="140"/>
                    </a:cxn>
                    <a:cxn ang="0">
                      <a:pos x="85" y="135"/>
                    </a:cxn>
                    <a:cxn ang="0">
                      <a:pos x="75" y="123"/>
                    </a:cxn>
                    <a:cxn ang="0">
                      <a:pos x="57" y="118"/>
                    </a:cxn>
                    <a:cxn ang="0">
                      <a:pos x="46" y="110"/>
                    </a:cxn>
                    <a:cxn ang="0">
                      <a:pos x="45" y="81"/>
                    </a:cxn>
                    <a:cxn ang="0">
                      <a:pos x="31" y="67"/>
                    </a:cxn>
                    <a:cxn ang="0">
                      <a:pos x="26" y="47"/>
                    </a:cxn>
                    <a:cxn ang="0">
                      <a:pos x="5" y="20"/>
                    </a:cxn>
                    <a:cxn ang="0">
                      <a:pos x="0" y="3"/>
                    </a:cxn>
                    <a:cxn ang="0">
                      <a:pos x="3" y="0"/>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81" name="Freeform 123"/>
                <p:cNvSpPr>
                  <a:spLocks noChangeAspect="1"/>
                </p:cNvSpPr>
                <p:nvPr/>
              </p:nvSpPr>
              <p:spPr bwMode="gray">
                <a:xfrm>
                  <a:off x="4047" y="1261"/>
                  <a:ext cx="43" cy="27"/>
                </a:xfrm>
                <a:custGeom>
                  <a:avLst/>
                  <a:gdLst/>
                  <a:ahLst/>
                  <a:cxnLst>
                    <a:cxn ang="0">
                      <a:pos x="92" y="7"/>
                    </a:cxn>
                    <a:cxn ang="0">
                      <a:pos x="110" y="0"/>
                    </a:cxn>
                    <a:cxn ang="0">
                      <a:pos x="126" y="2"/>
                    </a:cxn>
                    <a:cxn ang="0">
                      <a:pos x="137" y="5"/>
                    </a:cxn>
                    <a:cxn ang="0">
                      <a:pos x="148" y="16"/>
                    </a:cxn>
                    <a:cxn ang="0">
                      <a:pos x="156" y="18"/>
                    </a:cxn>
                    <a:cxn ang="0">
                      <a:pos x="169" y="36"/>
                    </a:cxn>
                    <a:cxn ang="0">
                      <a:pos x="187" y="51"/>
                    </a:cxn>
                    <a:cxn ang="0">
                      <a:pos x="203" y="78"/>
                    </a:cxn>
                    <a:cxn ang="0">
                      <a:pos x="207" y="93"/>
                    </a:cxn>
                    <a:cxn ang="0">
                      <a:pos x="207" y="112"/>
                    </a:cxn>
                    <a:cxn ang="0">
                      <a:pos x="212" y="126"/>
                    </a:cxn>
                    <a:cxn ang="0">
                      <a:pos x="212" y="136"/>
                    </a:cxn>
                    <a:cxn ang="0">
                      <a:pos x="202" y="132"/>
                    </a:cxn>
                    <a:cxn ang="0">
                      <a:pos x="193" y="136"/>
                    </a:cxn>
                    <a:cxn ang="0">
                      <a:pos x="181" y="134"/>
                    </a:cxn>
                    <a:cxn ang="0">
                      <a:pos x="167" y="127"/>
                    </a:cxn>
                    <a:cxn ang="0">
                      <a:pos x="139" y="128"/>
                    </a:cxn>
                    <a:cxn ang="0">
                      <a:pos x="122" y="120"/>
                    </a:cxn>
                    <a:cxn ang="0">
                      <a:pos x="115" y="112"/>
                    </a:cxn>
                    <a:cxn ang="0">
                      <a:pos x="102" y="115"/>
                    </a:cxn>
                    <a:cxn ang="0">
                      <a:pos x="85" y="110"/>
                    </a:cxn>
                    <a:cxn ang="0">
                      <a:pos x="68" y="99"/>
                    </a:cxn>
                    <a:cxn ang="0">
                      <a:pos x="48" y="95"/>
                    </a:cxn>
                    <a:cxn ang="0">
                      <a:pos x="21" y="110"/>
                    </a:cxn>
                    <a:cxn ang="0">
                      <a:pos x="10" y="109"/>
                    </a:cxn>
                    <a:cxn ang="0">
                      <a:pos x="0" y="95"/>
                    </a:cxn>
                    <a:cxn ang="0">
                      <a:pos x="8" y="89"/>
                    </a:cxn>
                    <a:cxn ang="0">
                      <a:pos x="37" y="86"/>
                    </a:cxn>
                    <a:cxn ang="0">
                      <a:pos x="41" y="79"/>
                    </a:cxn>
                    <a:cxn ang="0">
                      <a:pos x="48" y="62"/>
                    </a:cxn>
                    <a:cxn ang="0">
                      <a:pos x="60" y="31"/>
                    </a:cxn>
                    <a:cxn ang="0">
                      <a:pos x="60" y="19"/>
                    </a:cxn>
                    <a:cxn ang="0">
                      <a:pos x="65" y="10"/>
                    </a:cxn>
                    <a:cxn ang="0">
                      <a:pos x="92" y="7"/>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82" name="Freeform 124"/>
                <p:cNvSpPr>
                  <a:spLocks noChangeAspect="1"/>
                </p:cNvSpPr>
                <p:nvPr/>
              </p:nvSpPr>
              <p:spPr bwMode="gray">
                <a:xfrm>
                  <a:off x="3080" y="1282"/>
                  <a:ext cx="68" cy="102"/>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83" name="Freeform 125"/>
                <p:cNvSpPr>
                  <a:spLocks noChangeAspect="1"/>
                </p:cNvSpPr>
                <p:nvPr/>
              </p:nvSpPr>
              <p:spPr bwMode="gray">
                <a:xfrm>
                  <a:off x="3104" y="1129"/>
                  <a:ext cx="169" cy="159"/>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84" name="Freeform 126"/>
                <p:cNvSpPr>
                  <a:spLocks noChangeAspect="1"/>
                </p:cNvSpPr>
                <p:nvPr/>
              </p:nvSpPr>
              <p:spPr bwMode="gray">
                <a:xfrm>
                  <a:off x="3090" y="1355"/>
                  <a:ext cx="9" cy="16"/>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85" name="Freeform 127"/>
                <p:cNvSpPr>
                  <a:spLocks noChangeAspect="1"/>
                </p:cNvSpPr>
                <p:nvPr/>
              </p:nvSpPr>
              <p:spPr bwMode="gray">
                <a:xfrm>
                  <a:off x="4042" y="1314"/>
                  <a:ext cx="17" cy="13"/>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86" name="Freeform 128"/>
                <p:cNvSpPr>
                  <a:spLocks noChangeAspect="1"/>
                </p:cNvSpPr>
                <p:nvPr/>
              </p:nvSpPr>
              <p:spPr bwMode="gray">
                <a:xfrm>
                  <a:off x="3158" y="1386"/>
                  <a:ext cx="22" cy="25"/>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87" name="Freeform 130"/>
                <p:cNvSpPr>
                  <a:spLocks noChangeAspect="1"/>
                </p:cNvSpPr>
                <p:nvPr/>
              </p:nvSpPr>
              <p:spPr bwMode="gray">
                <a:xfrm>
                  <a:off x="4473" y="1348"/>
                  <a:ext cx="44" cy="25"/>
                </a:xfrm>
                <a:custGeom>
                  <a:avLst/>
                  <a:gdLst/>
                  <a:ahLst/>
                  <a:cxnLst>
                    <a:cxn ang="0">
                      <a:pos x="82" y="99"/>
                    </a:cxn>
                    <a:cxn ang="0">
                      <a:pos x="78" y="98"/>
                    </a:cxn>
                    <a:cxn ang="0">
                      <a:pos x="69" y="103"/>
                    </a:cxn>
                    <a:cxn ang="0">
                      <a:pos x="63" y="110"/>
                    </a:cxn>
                    <a:cxn ang="0">
                      <a:pos x="60" y="119"/>
                    </a:cxn>
                    <a:cxn ang="0">
                      <a:pos x="38" y="121"/>
                    </a:cxn>
                    <a:cxn ang="0">
                      <a:pos x="36" y="118"/>
                    </a:cxn>
                    <a:cxn ang="0">
                      <a:pos x="16" y="125"/>
                    </a:cxn>
                    <a:cxn ang="0">
                      <a:pos x="15" y="116"/>
                    </a:cxn>
                    <a:cxn ang="0">
                      <a:pos x="4" y="100"/>
                    </a:cxn>
                    <a:cxn ang="0">
                      <a:pos x="0" y="91"/>
                    </a:cxn>
                    <a:cxn ang="0">
                      <a:pos x="4" y="78"/>
                    </a:cxn>
                    <a:cxn ang="0">
                      <a:pos x="12" y="72"/>
                    </a:cxn>
                    <a:cxn ang="0">
                      <a:pos x="16" y="60"/>
                    </a:cxn>
                    <a:cxn ang="0">
                      <a:pos x="36" y="43"/>
                    </a:cxn>
                    <a:cxn ang="0">
                      <a:pos x="42" y="33"/>
                    </a:cxn>
                    <a:cxn ang="0">
                      <a:pos x="55" y="19"/>
                    </a:cxn>
                    <a:cxn ang="0">
                      <a:pos x="63" y="19"/>
                    </a:cxn>
                    <a:cxn ang="0">
                      <a:pos x="66" y="10"/>
                    </a:cxn>
                    <a:cxn ang="0">
                      <a:pos x="82" y="5"/>
                    </a:cxn>
                    <a:cxn ang="0">
                      <a:pos x="82" y="3"/>
                    </a:cxn>
                    <a:cxn ang="0">
                      <a:pos x="82" y="5"/>
                    </a:cxn>
                    <a:cxn ang="0">
                      <a:pos x="84" y="3"/>
                    </a:cxn>
                    <a:cxn ang="0">
                      <a:pos x="84" y="5"/>
                    </a:cxn>
                    <a:cxn ang="0">
                      <a:pos x="90" y="6"/>
                    </a:cxn>
                    <a:cxn ang="0">
                      <a:pos x="101" y="1"/>
                    </a:cxn>
                    <a:cxn ang="0">
                      <a:pos x="114" y="10"/>
                    </a:cxn>
                    <a:cxn ang="0">
                      <a:pos x="127" y="1"/>
                    </a:cxn>
                    <a:cxn ang="0">
                      <a:pos x="133" y="3"/>
                    </a:cxn>
                    <a:cxn ang="0">
                      <a:pos x="135" y="0"/>
                    </a:cxn>
                    <a:cxn ang="0">
                      <a:pos x="156" y="11"/>
                    </a:cxn>
                    <a:cxn ang="0">
                      <a:pos x="184" y="19"/>
                    </a:cxn>
                    <a:cxn ang="0">
                      <a:pos x="188" y="24"/>
                    </a:cxn>
                    <a:cxn ang="0">
                      <a:pos x="186" y="28"/>
                    </a:cxn>
                    <a:cxn ang="0">
                      <a:pos x="186" y="32"/>
                    </a:cxn>
                    <a:cxn ang="0">
                      <a:pos x="214" y="55"/>
                    </a:cxn>
                    <a:cxn ang="0">
                      <a:pos x="218" y="67"/>
                    </a:cxn>
                    <a:cxn ang="0">
                      <a:pos x="214" y="77"/>
                    </a:cxn>
                    <a:cxn ang="0">
                      <a:pos x="193" y="91"/>
                    </a:cxn>
                    <a:cxn ang="0">
                      <a:pos x="143" y="107"/>
                    </a:cxn>
                    <a:cxn ang="0">
                      <a:pos x="133" y="113"/>
                    </a:cxn>
                    <a:cxn ang="0">
                      <a:pos x="113" y="109"/>
                    </a:cxn>
                    <a:cxn ang="0">
                      <a:pos x="107" y="104"/>
                    </a:cxn>
                    <a:cxn ang="0">
                      <a:pos x="82" y="100"/>
                    </a:cxn>
                    <a:cxn ang="0">
                      <a:pos x="82" y="9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1074" name="Freeform 131"/>
              <p:cNvSpPr>
                <a:spLocks noChangeAspect="1"/>
              </p:cNvSpPr>
              <p:nvPr/>
            </p:nvSpPr>
            <p:spPr bwMode="gray">
              <a:xfrm>
                <a:off x="4071" y="1777"/>
                <a:ext cx="34" cy="144"/>
              </a:xfrm>
              <a:custGeom>
                <a:avLst/>
                <a:gdLst/>
                <a:ahLst/>
                <a:cxnLst>
                  <a:cxn ang="0">
                    <a:pos x="55" y="0"/>
                  </a:cxn>
                  <a:cxn ang="0">
                    <a:pos x="69" y="22"/>
                  </a:cxn>
                  <a:cxn ang="0">
                    <a:pos x="76" y="79"/>
                  </a:cxn>
                  <a:cxn ang="0">
                    <a:pos x="92" y="144"/>
                  </a:cxn>
                  <a:cxn ang="0">
                    <a:pos x="90" y="187"/>
                  </a:cxn>
                  <a:cxn ang="0">
                    <a:pos x="84" y="210"/>
                  </a:cxn>
                  <a:cxn ang="0">
                    <a:pos x="90" y="243"/>
                  </a:cxn>
                  <a:cxn ang="0">
                    <a:pos x="92" y="257"/>
                  </a:cxn>
                  <a:cxn ang="0">
                    <a:pos x="102" y="289"/>
                  </a:cxn>
                  <a:cxn ang="0">
                    <a:pos x="116" y="344"/>
                  </a:cxn>
                  <a:cxn ang="0">
                    <a:pos x="139" y="425"/>
                  </a:cxn>
                  <a:cxn ang="0">
                    <a:pos x="150" y="459"/>
                  </a:cxn>
                  <a:cxn ang="0">
                    <a:pos x="168" y="487"/>
                  </a:cxn>
                  <a:cxn ang="0">
                    <a:pos x="149" y="466"/>
                  </a:cxn>
                  <a:cxn ang="0">
                    <a:pos x="119" y="448"/>
                  </a:cxn>
                  <a:cxn ang="0">
                    <a:pos x="92" y="447"/>
                  </a:cxn>
                  <a:cxn ang="0">
                    <a:pos x="75" y="475"/>
                  </a:cxn>
                  <a:cxn ang="0">
                    <a:pos x="65" y="509"/>
                  </a:cxn>
                  <a:cxn ang="0">
                    <a:pos x="53" y="566"/>
                  </a:cxn>
                  <a:cxn ang="0">
                    <a:pos x="61" y="602"/>
                  </a:cxn>
                  <a:cxn ang="0">
                    <a:pos x="80" y="635"/>
                  </a:cxn>
                  <a:cxn ang="0">
                    <a:pos x="89" y="651"/>
                  </a:cxn>
                  <a:cxn ang="0">
                    <a:pos x="100" y="654"/>
                  </a:cxn>
                  <a:cxn ang="0">
                    <a:pos x="108" y="684"/>
                  </a:cxn>
                  <a:cxn ang="0">
                    <a:pos x="102" y="713"/>
                  </a:cxn>
                  <a:cxn ang="0">
                    <a:pos x="69" y="663"/>
                  </a:cxn>
                  <a:cxn ang="0">
                    <a:pos x="46" y="673"/>
                  </a:cxn>
                  <a:cxn ang="0">
                    <a:pos x="31" y="721"/>
                  </a:cxn>
                  <a:cxn ang="0">
                    <a:pos x="15" y="689"/>
                  </a:cxn>
                  <a:cxn ang="0">
                    <a:pos x="21" y="623"/>
                  </a:cxn>
                  <a:cxn ang="0">
                    <a:pos x="32" y="554"/>
                  </a:cxn>
                  <a:cxn ang="0">
                    <a:pos x="23" y="522"/>
                  </a:cxn>
                  <a:cxn ang="0">
                    <a:pos x="17" y="479"/>
                  </a:cxn>
                  <a:cxn ang="0">
                    <a:pos x="28" y="425"/>
                  </a:cxn>
                  <a:cxn ang="0">
                    <a:pos x="32" y="392"/>
                  </a:cxn>
                  <a:cxn ang="0">
                    <a:pos x="30" y="375"/>
                  </a:cxn>
                  <a:cxn ang="0">
                    <a:pos x="25" y="348"/>
                  </a:cxn>
                  <a:cxn ang="0">
                    <a:pos x="31" y="297"/>
                  </a:cxn>
                  <a:cxn ang="0">
                    <a:pos x="21" y="260"/>
                  </a:cxn>
                  <a:cxn ang="0">
                    <a:pos x="4" y="243"/>
                  </a:cxn>
                  <a:cxn ang="0">
                    <a:pos x="3" y="226"/>
                  </a:cxn>
                  <a:cxn ang="0">
                    <a:pos x="0" y="188"/>
                  </a:cxn>
                  <a:cxn ang="0">
                    <a:pos x="12" y="125"/>
                  </a:cxn>
                  <a:cxn ang="0">
                    <a:pos x="9" y="96"/>
                  </a:cxn>
                  <a:cxn ang="0">
                    <a:pos x="25" y="79"/>
                  </a:cxn>
                  <a:cxn ang="0">
                    <a:pos x="37" y="87"/>
                  </a:cxn>
                  <a:cxn ang="0">
                    <a:pos x="50" y="81"/>
                  </a:cxn>
                  <a:cxn ang="0">
                    <a:pos x="50" y="66"/>
                  </a:cxn>
                  <a:cxn ang="0">
                    <a:pos x="59" y="64"/>
                  </a:cxn>
                  <a:cxn ang="0">
                    <a:pos x="49" y="33"/>
                  </a:cxn>
                  <a:cxn ang="0">
                    <a:pos x="38" y="9"/>
                  </a:cxn>
                  <a:cxn ang="0">
                    <a:pos x="47" y="6"/>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75" name="Freeform 132"/>
              <p:cNvSpPr>
                <a:spLocks noChangeAspect="1"/>
              </p:cNvSpPr>
              <p:nvPr/>
            </p:nvSpPr>
            <p:spPr bwMode="gray">
              <a:xfrm>
                <a:off x="2817" y="1091"/>
                <a:ext cx="1786" cy="901"/>
              </a:xfrm>
              <a:custGeom>
                <a:avLst/>
                <a:gdLst/>
                <a:ahLst/>
                <a:cxnLst>
                  <a:cxn ang="0">
                    <a:pos x="3264" y="3913"/>
                  </a:cxn>
                  <a:cxn ang="0">
                    <a:pos x="4333" y="3788"/>
                  </a:cxn>
                  <a:cxn ang="0">
                    <a:pos x="5307" y="3536"/>
                  </a:cxn>
                  <a:cxn ang="0">
                    <a:pos x="5833" y="4138"/>
                  </a:cxn>
                  <a:cxn ang="0">
                    <a:pos x="6066" y="4138"/>
                  </a:cxn>
                  <a:cxn ang="0">
                    <a:pos x="6189" y="3482"/>
                  </a:cxn>
                  <a:cxn ang="0">
                    <a:pos x="5968" y="3336"/>
                  </a:cxn>
                  <a:cxn ang="0">
                    <a:pos x="6672" y="2912"/>
                  </a:cxn>
                  <a:cxn ang="0">
                    <a:pos x="6999" y="2815"/>
                  </a:cxn>
                  <a:cxn ang="0">
                    <a:pos x="7448" y="2593"/>
                  </a:cxn>
                  <a:cxn ang="0">
                    <a:pos x="7045" y="3206"/>
                  </a:cxn>
                  <a:cxn ang="0">
                    <a:pos x="7368" y="3293"/>
                  </a:cxn>
                  <a:cxn ang="0">
                    <a:pos x="7505" y="2864"/>
                  </a:cxn>
                  <a:cxn ang="0">
                    <a:pos x="7925" y="2760"/>
                  </a:cxn>
                  <a:cxn ang="0">
                    <a:pos x="8227" y="2553"/>
                  </a:cxn>
                  <a:cxn ang="0">
                    <a:pos x="8363" y="2256"/>
                  </a:cxn>
                  <a:cxn ang="0">
                    <a:pos x="8646" y="2287"/>
                  </a:cxn>
                  <a:cxn ang="0">
                    <a:pos x="8841" y="2201"/>
                  </a:cxn>
                  <a:cxn ang="0">
                    <a:pos x="8685" y="1981"/>
                  </a:cxn>
                  <a:cxn ang="0">
                    <a:pos x="8538" y="1863"/>
                  </a:cxn>
                  <a:cxn ang="0">
                    <a:pos x="7819" y="1608"/>
                  </a:cxn>
                  <a:cxn ang="0">
                    <a:pos x="7284" y="1590"/>
                  </a:cxn>
                  <a:cxn ang="0">
                    <a:pos x="6685" y="1267"/>
                  </a:cxn>
                  <a:cxn ang="0">
                    <a:pos x="6173" y="1286"/>
                  </a:cxn>
                  <a:cxn ang="0">
                    <a:pos x="5674" y="1395"/>
                  </a:cxn>
                  <a:cxn ang="0">
                    <a:pos x="5597" y="1031"/>
                  </a:cxn>
                  <a:cxn ang="0">
                    <a:pos x="5210" y="1036"/>
                  </a:cxn>
                  <a:cxn ang="0">
                    <a:pos x="4698" y="872"/>
                  </a:cxn>
                  <a:cxn ang="0">
                    <a:pos x="4354" y="1003"/>
                  </a:cxn>
                  <a:cxn ang="0">
                    <a:pos x="4584" y="721"/>
                  </a:cxn>
                  <a:cxn ang="0">
                    <a:pos x="4684" y="394"/>
                  </a:cxn>
                  <a:cxn ang="0">
                    <a:pos x="4372" y="204"/>
                  </a:cxn>
                  <a:cxn ang="0">
                    <a:pos x="4025" y="232"/>
                  </a:cxn>
                  <a:cxn ang="0">
                    <a:pos x="3791" y="419"/>
                  </a:cxn>
                  <a:cxn ang="0">
                    <a:pos x="3374" y="550"/>
                  </a:cxn>
                  <a:cxn ang="0">
                    <a:pos x="3254" y="832"/>
                  </a:cxn>
                  <a:cxn ang="0">
                    <a:pos x="2949" y="1149"/>
                  </a:cxn>
                  <a:cxn ang="0">
                    <a:pos x="2945" y="1235"/>
                  </a:cxn>
                  <a:cxn ang="0">
                    <a:pos x="2627" y="1222"/>
                  </a:cxn>
                  <a:cxn ang="0">
                    <a:pos x="2758" y="1734"/>
                  </a:cxn>
                  <a:cxn ang="0">
                    <a:pos x="2590" y="1842"/>
                  </a:cxn>
                  <a:cxn ang="0">
                    <a:pos x="2499" y="1888"/>
                  </a:cxn>
                  <a:cxn ang="0">
                    <a:pos x="2297" y="1040"/>
                  </a:cxn>
                  <a:cxn ang="0">
                    <a:pos x="2235" y="1800"/>
                  </a:cxn>
                  <a:cxn ang="0">
                    <a:pos x="1570" y="1757"/>
                  </a:cxn>
                  <a:cxn ang="0">
                    <a:pos x="1175" y="1897"/>
                  </a:cxn>
                  <a:cxn ang="0">
                    <a:pos x="933" y="2056"/>
                  </a:cxn>
                  <a:cxn ang="0">
                    <a:pos x="501" y="2289"/>
                  </a:cxn>
                  <a:cxn ang="0">
                    <a:pos x="306" y="2013"/>
                  </a:cxn>
                  <a:cxn ang="0">
                    <a:pos x="589" y="1783"/>
                  </a:cxn>
                  <a:cxn ang="0">
                    <a:pos x="191" y="1600"/>
                  </a:cxn>
                  <a:cxn ang="0">
                    <a:pos x="215" y="2548"/>
                  </a:cxn>
                  <a:cxn ang="0">
                    <a:pos x="14" y="3054"/>
                  </a:cxn>
                  <a:cxn ang="0">
                    <a:pos x="241" y="3470"/>
                  </a:cxn>
                  <a:cxn ang="0">
                    <a:pos x="440" y="3762"/>
                  </a:cxn>
                  <a:cxn ang="0">
                    <a:pos x="644" y="4043"/>
                  </a:cxn>
                  <a:cxn ang="0">
                    <a:pos x="898" y="4398"/>
                  </a:cxn>
                  <a:cxn ang="0">
                    <a:pos x="1107" y="4133"/>
                  </a:cxn>
                  <a:cxn ang="0">
                    <a:pos x="1169" y="3800"/>
                  </a:cxn>
                  <a:cxn ang="0">
                    <a:pos x="1520" y="3752"/>
                  </a:cxn>
                  <a:cxn ang="0">
                    <a:pos x="1831" y="3572"/>
                  </a:cxn>
                  <a:cxn ang="0">
                    <a:pos x="2183" y="3384"/>
                  </a:cxn>
                  <a:cxn ang="0">
                    <a:pos x="2523" y="3466"/>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solidFill>
                <a:srgbClr val="DAEAF6"/>
              </a:solid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1076" name="Freeform 133"/>
              <p:cNvSpPr>
                <a:spLocks noChangeAspect="1"/>
              </p:cNvSpPr>
              <p:nvPr/>
            </p:nvSpPr>
            <p:spPr bwMode="gray">
              <a:xfrm>
                <a:off x="2730" y="1750"/>
                <a:ext cx="36" cy="27"/>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solidFill>
                <a:schemeClr val="accent6">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grpSp>
          <p:nvGrpSpPr>
            <p:cNvPr id="816" name="Group 135"/>
            <p:cNvGrpSpPr>
              <a:grpSpLocks noChangeAspect="1"/>
            </p:cNvGrpSpPr>
            <p:nvPr/>
          </p:nvGrpSpPr>
          <p:grpSpPr bwMode="gray">
            <a:xfrm>
              <a:off x="5214139" y="2886420"/>
              <a:ext cx="647700" cy="585788"/>
              <a:chOff x="2802" y="1979"/>
              <a:chExt cx="408" cy="369"/>
            </a:xfrm>
            <a:grpFill/>
          </p:grpSpPr>
          <p:sp>
            <p:nvSpPr>
              <p:cNvPr id="1044" name="Freeform 136"/>
              <p:cNvSpPr>
                <a:spLocks noChangeAspect="1"/>
              </p:cNvSpPr>
              <p:nvPr/>
            </p:nvSpPr>
            <p:spPr bwMode="gray">
              <a:xfrm>
                <a:off x="2899" y="2082"/>
                <a:ext cx="19" cy="23"/>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1045" name="Group 137"/>
              <p:cNvGrpSpPr>
                <a:grpSpLocks noChangeAspect="1"/>
              </p:cNvGrpSpPr>
              <p:nvPr/>
            </p:nvGrpSpPr>
            <p:grpSpPr bwMode="gray">
              <a:xfrm>
                <a:off x="2889" y="2101"/>
                <a:ext cx="17" cy="51"/>
                <a:chOff x="2889" y="2101"/>
                <a:chExt cx="17" cy="51"/>
              </a:xfrm>
              <a:grpFill/>
            </p:grpSpPr>
            <p:sp>
              <p:nvSpPr>
                <p:cNvPr id="1070" name="Freeform 138"/>
                <p:cNvSpPr>
                  <a:spLocks noChangeAspect="1"/>
                </p:cNvSpPr>
                <p:nvPr/>
              </p:nvSpPr>
              <p:spPr bwMode="gray">
                <a:xfrm>
                  <a:off x="2897" y="2111"/>
                  <a:ext cx="8" cy="16"/>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71" name="Freeform 139"/>
                <p:cNvSpPr>
                  <a:spLocks noChangeAspect="1"/>
                </p:cNvSpPr>
                <p:nvPr/>
              </p:nvSpPr>
              <p:spPr bwMode="gray">
                <a:xfrm>
                  <a:off x="2889" y="2124"/>
                  <a:ext cx="4" cy="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72" name="Freeform 140"/>
                <p:cNvSpPr>
                  <a:spLocks noChangeAspect="1"/>
                </p:cNvSpPr>
                <p:nvPr/>
              </p:nvSpPr>
              <p:spPr bwMode="gray">
                <a:xfrm>
                  <a:off x="2890" y="2101"/>
                  <a:ext cx="16" cy="51"/>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1046" name="Freeform 141"/>
              <p:cNvSpPr>
                <a:spLocks noChangeAspect="1"/>
              </p:cNvSpPr>
              <p:nvPr/>
            </p:nvSpPr>
            <p:spPr bwMode="gray">
              <a:xfrm>
                <a:off x="3027" y="2143"/>
                <a:ext cx="19" cy="19"/>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1047" name="Group 142"/>
              <p:cNvGrpSpPr>
                <a:grpSpLocks noChangeAspect="1"/>
              </p:cNvGrpSpPr>
              <p:nvPr/>
            </p:nvGrpSpPr>
            <p:grpSpPr bwMode="gray">
              <a:xfrm>
                <a:off x="2896" y="2116"/>
                <a:ext cx="231" cy="189"/>
                <a:chOff x="2896" y="2116"/>
                <a:chExt cx="231" cy="189"/>
              </a:xfrm>
              <a:grpFill/>
            </p:grpSpPr>
            <p:sp>
              <p:nvSpPr>
                <p:cNvPr id="1068" name="Freeform 143"/>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69" name="Freeform 144"/>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path>
                  </a:pathLst>
                </a:custGeom>
                <a:solidFill>
                  <a:srgbClr val="D9D9D9"/>
                </a:solid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grpSp>
          <p:grpSp>
            <p:nvGrpSpPr>
              <p:cNvPr id="1048" name="Group 145"/>
              <p:cNvGrpSpPr>
                <a:grpSpLocks noChangeAspect="1"/>
              </p:cNvGrpSpPr>
              <p:nvPr/>
            </p:nvGrpSpPr>
            <p:grpSpPr bwMode="gray">
              <a:xfrm>
                <a:off x="2984" y="2276"/>
                <a:ext cx="114" cy="72"/>
                <a:chOff x="2984" y="2276"/>
                <a:chExt cx="114" cy="72"/>
              </a:xfrm>
              <a:grpFill/>
            </p:grpSpPr>
            <p:sp>
              <p:nvSpPr>
                <p:cNvPr id="1066" name="Freeform 146"/>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67" name="Freeform 147"/>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1049" name="Freeform 148"/>
              <p:cNvSpPr>
                <a:spLocks noChangeAspect="1"/>
              </p:cNvSpPr>
              <p:nvPr/>
            </p:nvSpPr>
            <p:spPr bwMode="gray">
              <a:xfrm>
                <a:off x="3104" y="2214"/>
                <a:ext cx="3" cy="2"/>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1050" name="Group 149"/>
              <p:cNvGrpSpPr>
                <a:grpSpLocks noChangeAspect="1"/>
              </p:cNvGrpSpPr>
              <p:nvPr/>
            </p:nvGrpSpPr>
            <p:grpSpPr bwMode="gray">
              <a:xfrm>
                <a:off x="3086" y="2189"/>
                <a:ext cx="85" cy="114"/>
                <a:chOff x="3086" y="2189"/>
                <a:chExt cx="85" cy="114"/>
              </a:xfrm>
              <a:grpFill/>
            </p:grpSpPr>
            <p:sp>
              <p:nvSpPr>
                <p:cNvPr id="1064" name="Freeform 150"/>
                <p:cNvSpPr>
                  <a:spLocks noChangeAspect="1"/>
                </p:cNvSpPr>
                <p:nvPr/>
              </p:nvSpPr>
              <p:spPr bwMode="gray">
                <a:xfrm>
                  <a:off x="3130" y="2189"/>
                  <a:ext cx="4" cy="8"/>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65" name="Freeform 151"/>
                <p:cNvSpPr>
                  <a:spLocks noChangeAspect="1"/>
                </p:cNvSpPr>
                <p:nvPr/>
              </p:nvSpPr>
              <p:spPr bwMode="gray">
                <a:xfrm>
                  <a:off x="3086" y="2207"/>
                  <a:ext cx="85" cy="96"/>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1051" name="Freeform 152"/>
              <p:cNvSpPr>
                <a:spLocks noChangeAspect="1"/>
              </p:cNvSpPr>
              <p:nvPr/>
            </p:nvSpPr>
            <p:spPr bwMode="gray">
              <a:xfrm>
                <a:off x="3069" y="2190"/>
                <a:ext cx="1" cy="3"/>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1052" name="Group 153"/>
              <p:cNvGrpSpPr>
                <a:grpSpLocks noChangeAspect="1"/>
              </p:cNvGrpSpPr>
              <p:nvPr/>
            </p:nvGrpSpPr>
            <p:grpSpPr bwMode="gray">
              <a:xfrm>
                <a:off x="3000" y="2012"/>
                <a:ext cx="210" cy="192"/>
                <a:chOff x="3000" y="2012"/>
                <a:chExt cx="210" cy="192"/>
              </a:xfrm>
              <a:grpFill/>
            </p:grpSpPr>
            <p:sp>
              <p:nvSpPr>
                <p:cNvPr id="1062" name="Freeform 154"/>
                <p:cNvSpPr>
                  <a:spLocks noChangeAspect="1"/>
                </p:cNvSpPr>
                <p:nvPr/>
              </p:nvSpPr>
              <p:spPr bwMode="gray">
                <a:xfrm>
                  <a:off x="3122" y="2182"/>
                  <a:ext cx="10" cy="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63" name="Freeform 155"/>
                <p:cNvSpPr>
                  <a:spLocks noChangeAspect="1"/>
                </p:cNvSpPr>
                <p:nvPr/>
              </p:nvSpPr>
              <p:spPr bwMode="gray">
                <a:xfrm>
                  <a:off x="3000" y="2012"/>
                  <a:ext cx="210" cy="192"/>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solidFill>
                  <a:schemeClr val="accent6">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1053" name="Freeform 156"/>
              <p:cNvSpPr>
                <a:spLocks noChangeAspect="1"/>
              </p:cNvSpPr>
              <p:nvPr/>
            </p:nvSpPr>
            <p:spPr bwMode="gray">
              <a:xfrm>
                <a:off x="2941" y="2045"/>
                <a:ext cx="107" cy="109"/>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54" name="Freeform 157"/>
              <p:cNvSpPr>
                <a:spLocks noChangeAspect="1"/>
              </p:cNvSpPr>
              <p:nvPr/>
            </p:nvSpPr>
            <p:spPr bwMode="gray">
              <a:xfrm>
                <a:off x="3072" y="2191"/>
                <a:ext cx="9" cy="20"/>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55" name="Freeform 158"/>
              <p:cNvSpPr>
                <a:spLocks noChangeAspect="1"/>
              </p:cNvSpPr>
              <p:nvPr/>
            </p:nvSpPr>
            <p:spPr bwMode="gray">
              <a:xfrm>
                <a:off x="3075" y="2192"/>
                <a:ext cx="58" cy="43"/>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1056" name="Group 159"/>
              <p:cNvGrpSpPr>
                <a:grpSpLocks noChangeAspect="1"/>
              </p:cNvGrpSpPr>
              <p:nvPr/>
            </p:nvGrpSpPr>
            <p:grpSpPr bwMode="gray">
              <a:xfrm>
                <a:off x="2802" y="1979"/>
                <a:ext cx="205" cy="88"/>
                <a:chOff x="2802" y="1979"/>
                <a:chExt cx="205" cy="88"/>
              </a:xfrm>
              <a:grpFill/>
            </p:grpSpPr>
            <p:sp>
              <p:nvSpPr>
                <p:cNvPr id="1060" name="Freeform 160"/>
                <p:cNvSpPr>
                  <a:spLocks noChangeAspect="1"/>
                </p:cNvSpPr>
                <p:nvPr/>
              </p:nvSpPr>
              <p:spPr bwMode="gray">
                <a:xfrm>
                  <a:off x="2803" y="1979"/>
                  <a:ext cx="204" cy="88"/>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solidFill>
                  <a:schemeClr val="accent6">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61" name="Freeform 161"/>
                <p:cNvSpPr>
                  <a:spLocks noChangeAspect="1"/>
                </p:cNvSpPr>
                <p:nvPr/>
              </p:nvSpPr>
              <p:spPr bwMode="gray">
                <a:xfrm>
                  <a:off x="2802" y="1980"/>
                  <a:ext cx="33" cy="2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1057" name="Freeform 162"/>
              <p:cNvSpPr>
                <a:spLocks noChangeAspect="1"/>
              </p:cNvSpPr>
              <p:nvPr/>
            </p:nvSpPr>
            <p:spPr bwMode="gray">
              <a:xfrm>
                <a:off x="2898" y="2100"/>
                <a:ext cx="47" cy="54"/>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solidFill>
                <a:srgbClr val="D9D9D9"/>
              </a:solid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1058" name="Freeform 163"/>
              <p:cNvSpPr>
                <a:spLocks noChangeAspect="1"/>
              </p:cNvSpPr>
              <p:nvPr/>
            </p:nvSpPr>
            <p:spPr bwMode="gray">
              <a:xfrm>
                <a:off x="2905" y="2047"/>
                <a:ext cx="77" cy="67"/>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59" name="Freeform 164"/>
              <p:cNvSpPr>
                <a:spLocks noChangeAspect="1"/>
              </p:cNvSpPr>
              <p:nvPr/>
            </p:nvSpPr>
            <p:spPr bwMode="gray">
              <a:xfrm>
                <a:off x="2871" y="2069"/>
                <a:ext cx="25" cy="15"/>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817" name="Freeform 165"/>
            <p:cNvSpPr>
              <a:spLocks noChangeAspect="1"/>
            </p:cNvSpPr>
            <p:nvPr/>
          </p:nvSpPr>
          <p:spPr bwMode="gray">
            <a:xfrm>
              <a:off x="5515764" y="2903883"/>
              <a:ext cx="53975" cy="55563"/>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818" name="Freeform 166"/>
            <p:cNvSpPr>
              <a:spLocks noChangeAspect="1"/>
            </p:cNvSpPr>
            <p:nvPr/>
          </p:nvSpPr>
          <p:spPr bwMode="gray">
            <a:xfrm>
              <a:off x="5569739" y="2532407"/>
              <a:ext cx="708025" cy="377825"/>
            </a:xfrm>
            <a:custGeom>
              <a:avLst/>
              <a:gdLst/>
              <a:ahLst/>
              <a:cxnLst>
                <a:cxn ang="0">
                  <a:pos x="464" y="1136"/>
                </a:cxn>
                <a:cxn ang="0">
                  <a:pos x="355" y="1109"/>
                </a:cxn>
                <a:cxn ang="0">
                  <a:pos x="262" y="1035"/>
                </a:cxn>
                <a:cxn ang="0">
                  <a:pos x="250" y="932"/>
                </a:cxn>
                <a:cxn ang="0">
                  <a:pos x="298" y="882"/>
                </a:cxn>
                <a:cxn ang="0">
                  <a:pos x="413" y="881"/>
                </a:cxn>
                <a:cxn ang="0">
                  <a:pos x="420" y="823"/>
                </a:cxn>
                <a:cxn ang="0">
                  <a:pos x="336" y="731"/>
                </a:cxn>
                <a:cxn ang="0">
                  <a:pos x="242" y="718"/>
                </a:cxn>
                <a:cxn ang="0">
                  <a:pos x="102" y="781"/>
                </a:cxn>
                <a:cxn ang="0">
                  <a:pos x="103" y="699"/>
                </a:cxn>
                <a:cxn ang="0">
                  <a:pos x="33" y="660"/>
                </a:cxn>
                <a:cxn ang="0">
                  <a:pos x="16" y="544"/>
                </a:cxn>
                <a:cxn ang="0">
                  <a:pos x="64" y="458"/>
                </a:cxn>
                <a:cxn ang="0">
                  <a:pos x="126" y="435"/>
                </a:cxn>
                <a:cxn ang="0">
                  <a:pos x="193" y="379"/>
                </a:cxn>
                <a:cxn ang="0">
                  <a:pos x="263" y="359"/>
                </a:cxn>
                <a:cxn ang="0">
                  <a:pos x="329" y="359"/>
                </a:cxn>
                <a:cxn ang="0">
                  <a:pos x="421" y="398"/>
                </a:cxn>
                <a:cxn ang="0">
                  <a:pos x="442" y="408"/>
                </a:cxn>
                <a:cxn ang="0">
                  <a:pos x="531" y="424"/>
                </a:cxn>
                <a:cxn ang="0">
                  <a:pos x="590" y="402"/>
                </a:cxn>
                <a:cxn ang="0">
                  <a:pos x="674" y="434"/>
                </a:cxn>
                <a:cxn ang="0">
                  <a:pos x="760" y="434"/>
                </a:cxn>
                <a:cxn ang="0">
                  <a:pos x="793" y="363"/>
                </a:cxn>
                <a:cxn ang="0">
                  <a:pos x="760" y="306"/>
                </a:cxn>
                <a:cxn ang="0">
                  <a:pos x="807" y="226"/>
                </a:cxn>
                <a:cxn ang="0">
                  <a:pos x="803" y="192"/>
                </a:cxn>
                <a:cxn ang="0">
                  <a:pos x="802" y="150"/>
                </a:cxn>
                <a:cxn ang="0">
                  <a:pos x="878" y="142"/>
                </a:cxn>
                <a:cxn ang="0">
                  <a:pos x="963" y="110"/>
                </a:cxn>
                <a:cxn ang="0">
                  <a:pos x="1034" y="74"/>
                </a:cxn>
                <a:cxn ang="0">
                  <a:pos x="1187" y="42"/>
                </a:cxn>
                <a:cxn ang="0">
                  <a:pos x="1239" y="0"/>
                </a:cxn>
                <a:cxn ang="0">
                  <a:pos x="1324" y="12"/>
                </a:cxn>
                <a:cxn ang="0">
                  <a:pos x="1349" y="102"/>
                </a:cxn>
                <a:cxn ang="0">
                  <a:pos x="1402" y="107"/>
                </a:cxn>
                <a:cxn ang="0">
                  <a:pos x="1425" y="125"/>
                </a:cxn>
                <a:cxn ang="0">
                  <a:pos x="1490" y="145"/>
                </a:cxn>
                <a:cxn ang="0">
                  <a:pos x="1508" y="173"/>
                </a:cxn>
                <a:cxn ang="0">
                  <a:pos x="1586" y="123"/>
                </a:cxn>
                <a:cxn ang="0">
                  <a:pos x="1657" y="118"/>
                </a:cxn>
                <a:cxn ang="0">
                  <a:pos x="1857" y="397"/>
                </a:cxn>
                <a:cxn ang="0">
                  <a:pos x="1938" y="425"/>
                </a:cxn>
                <a:cxn ang="0">
                  <a:pos x="2028" y="408"/>
                </a:cxn>
                <a:cxn ang="0">
                  <a:pos x="2078" y="470"/>
                </a:cxn>
                <a:cxn ang="0">
                  <a:pos x="2159" y="533"/>
                </a:cxn>
                <a:cxn ang="0">
                  <a:pos x="2226" y="554"/>
                </a:cxn>
                <a:cxn ang="0">
                  <a:pos x="2139" y="733"/>
                </a:cxn>
                <a:cxn ang="0">
                  <a:pos x="1978" y="773"/>
                </a:cxn>
                <a:cxn ang="0">
                  <a:pos x="1841" y="901"/>
                </a:cxn>
                <a:cxn ang="0">
                  <a:pos x="1860" y="1061"/>
                </a:cxn>
                <a:cxn ang="0">
                  <a:pos x="1768" y="1061"/>
                </a:cxn>
                <a:cxn ang="0">
                  <a:pos x="1620" y="1050"/>
                </a:cxn>
                <a:cxn ang="0">
                  <a:pos x="1506" y="1034"/>
                </a:cxn>
                <a:cxn ang="0">
                  <a:pos x="1421" y="1070"/>
                </a:cxn>
                <a:cxn ang="0">
                  <a:pos x="1343" y="1081"/>
                </a:cxn>
                <a:cxn ang="0">
                  <a:pos x="1257" y="1153"/>
                </a:cxn>
                <a:cxn ang="0">
                  <a:pos x="1185" y="1180"/>
                </a:cxn>
                <a:cxn ang="0">
                  <a:pos x="1048" y="1021"/>
                </a:cxn>
                <a:cxn ang="0">
                  <a:pos x="742" y="899"/>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grp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819" name="Freeform 167"/>
            <p:cNvSpPr>
              <a:spLocks noChangeAspect="1"/>
            </p:cNvSpPr>
            <p:nvPr/>
          </p:nvSpPr>
          <p:spPr bwMode="gray">
            <a:xfrm>
              <a:off x="5453852" y="2851495"/>
              <a:ext cx="117475" cy="57150"/>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20" name="Freeform 168"/>
            <p:cNvSpPr>
              <a:spLocks noChangeAspect="1"/>
            </p:cNvSpPr>
            <p:nvPr/>
          </p:nvSpPr>
          <p:spPr bwMode="gray">
            <a:xfrm>
              <a:off x="5734839" y="2802282"/>
              <a:ext cx="298450" cy="193675"/>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solidFill>
              <a:srgbClr val="DAEAF6"/>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21" name="Freeform 169"/>
            <p:cNvSpPr>
              <a:spLocks noChangeAspect="1"/>
            </p:cNvSpPr>
            <p:nvPr/>
          </p:nvSpPr>
          <p:spPr bwMode="gray">
            <a:xfrm>
              <a:off x="5672927" y="2868957"/>
              <a:ext cx="247650" cy="171450"/>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822" name="Group 170"/>
            <p:cNvGrpSpPr>
              <a:grpSpLocks noChangeAspect="1"/>
            </p:cNvGrpSpPr>
            <p:nvPr/>
          </p:nvGrpSpPr>
          <p:grpSpPr bwMode="gray">
            <a:xfrm>
              <a:off x="5539577" y="2891182"/>
              <a:ext cx="96838" cy="77788"/>
              <a:chOff x="3007" y="1982"/>
              <a:chExt cx="61" cy="49"/>
            </a:xfrm>
            <a:grpFill/>
          </p:grpSpPr>
          <p:sp>
            <p:nvSpPr>
              <p:cNvPr id="1042" name="Freeform 171"/>
              <p:cNvSpPr>
                <a:spLocks noChangeAspect="1"/>
              </p:cNvSpPr>
              <p:nvPr/>
            </p:nvSpPr>
            <p:spPr bwMode="gray">
              <a:xfrm>
                <a:off x="3007" y="2013"/>
                <a:ext cx="13" cy="12"/>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43" name="Freeform 172"/>
              <p:cNvSpPr>
                <a:spLocks noChangeAspect="1"/>
              </p:cNvSpPr>
              <p:nvPr/>
            </p:nvSpPr>
            <p:spPr bwMode="gray">
              <a:xfrm>
                <a:off x="3009" y="1982"/>
                <a:ext cx="59" cy="49"/>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grp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grpSp>
        <p:sp>
          <p:nvSpPr>
            <p:cNvPr id="823" name="Freeform 173"/>
            <p:cNvSpPr>
              <a:spLocks noChangeAspect="1"/>
            </p:cNvSpPr>
            <p:nvPr/>
          </p:nvSpPr>
          <p:spPr bwMode="gray">
            <a:xfrm>
              <a:off x="4333078" y="2130771"/>
              <a:ext cx="190500" cy="130175"/>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824" name="Group 222"/>
            <p:cNvGrpSpPr>
              <a:grpSpLocks noChangeAspect="1"/>
            </p:cNvGrpSpPr>
            <p:nvPr/>
          </p:nvGrpSpPr>
          <p:grpSpPr bwMode="gray">
            <a:xfrm>
              <a:off x="5166589" y="1443381"/>
              <a:ext cx="1588" cy="3175"/>
              <a:chOff x="3340" y="1146"/>
              <a:chExt cx="1" cy="2"/>
            </a:xfrm>
            <a:grpFill/>
          </p:grpSpPr>
          <p:sp>
            <p:nvSpPr>
              <p:cNvPr id="1040" name="Freeform 225"/>
              <p:cNvSpPr>
                <a:spLocks noChangeAspect="1"/>
              </p:cNvSpPr>
              <p:nvPr/>
            </p:nvSpPr>
            <p:spPr bwMode="gray">
              <a:xfrm>
                <a:off x="3340" y="1146"/>
                <a:ext cx="1" cy="1"/>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41" name="Freeform 226"/>
              <p:cNvSpPr>
                <a:spLocks noChangeAspect="1"/>
              </p:cNvSpPr>
              <p:nvPr/>
            </p:nvSpPr>
            <p:spPr bwMode="gray">
              <a:xfrm>
                <a:off x="3340" y="1147"/>
                <a:ext cx="1" cy="1"/>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825" name="Freeform 229"/>
            <p:cNvSpPr>
              <a:spLocks noChangeAspect="1"/>
            </p:cNvSpPr>
            <p:nvPr/>
          </p:nvSpPr>
          <p:spPr bwMode="gray">
            <a:xfrm>
              <a:off x="3993354" y="2386359"/>
              <a:ext cx="6350" cy="6350"/>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26" name="Freeform 230"/>
            <p:cNvSpPr>
              <a:spLocks noChangeAspect="1"/>
            </p:cNvSpPr>
            <p:nvPr/>
          </p:nvSpPr>
          <p:spPr bwMode="gray">
            <a:xfrm>
              <a:off x="4331490" y="1810097"/>
              <a:ext cx="46038" cy="44450"/>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27" name="Freeform 231"/>
            <p:cNvSpPr>
              <a:spLocks noChangeAspect="1"/>
            </p:cNvSpPr>
            <p:nvPr/>
          </p:nvSpPr>
          <p:spPr bwMode="gray">
            <a:xfrm>
              <a:off x="4271166" y="1913284"/>
              <a:ext cx="46038" cy="31750"/>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28" name="Freeform 232"/>
            <p:cNvSpPr>
              <a:spLocks noChangeAspect="1"/>
            </p:cNvSpPr>
            <p:nvPr/>
          </p:nvSpPr>
          <p:spPr bwMode="gray">
            <a:xfrm>
              <a:off x="3994941" y="2381597"/>
              <a:ext cx="14288" cy="4763"/>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29" name="Freeform 234"/>
            <p:cNvSpPr>
              <a:spLocks noChangeAspect="1"/>
            </p:cNvSpPr>
            <p:nvPr/>
          </p:nvSpPr>
          <p:spPr bwMode="gray">
            <a:xfrm>
              <a:off x="3804441" y="1951384"/>
              <a:ext cx="52388" cy="52388"/>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830" name="Group 236"/>
            <p:cNvGrpSpPr>
              <a:grpSpLocks noChangeAspect="1"/>
            </p:cNvGrpSpPr>
            <p:nvPr/>
          </p:nvGrpSpPr>
          <p:grpSpPr bwMode="gray">
            <a:xfrm>
              <a:off x="3344066" y="3475384"/>
              <a:ext cx="808037" cy="1365250"/>
              <a:chOff x="1624" y="2350"/>
              <a:chExt cx="509" cy="860"/>
            </a:xfrm>
            <a:grpFill/>
          </p:grpSpPr>
          <p:sp>
            <p:nvSpPr>
              <p:cNvPr id="1034" name="Freeform 256"/>
              <p:cNvSpPr>
                <a:spLocks noChangeAspect="1"/>
              </p:cNvSpPr>
              <p:nvPr/>
            </p:nvSpPr>
            <p:spPr bwMode="gray">
              <a:xfrm>
                <a:off x="1711" y="2730"/>
                <a:ext cx="216" cy="429"/>
              </a:xfrm>
              <a:custGeom>
                <a:avLst/>
                <a:gdLst/>
                <a:ahLst/>
                <a:cxnLst>
                  <a:cxn ang="0">
                    <a:pos x="150" y="2125"/>
                  </a:cxn>
                  <a:cxn ang="0">
                    <a:pos x="60" y="2037"/>
                  </a:cxn>
                  <a:cxn ang="0">
                    <a:pos x="17" y="2007"/>
                  </a:cxn>
                  <a:cxn ang="0">
                    <a:pos x="1" y="1952"/>
                  </a:cxn>
                  <a:cxn ang="0">
                    <a:pos x="49" y="1834"/>
                  </a:cxn>
                  <a:cxn ang="0">
                    <a:pos x="52" y="1773"/>
                  </a:cxn>
                  <a:cxn ang="0">
                    <a:pos x="93" y="1669"/>
                  </a:cxn>
                  <a:cxn ang="0">
                    <a:pos x="104" y="1561"/>
                  </a:cxn>
                  <a:cxn ang="0">
                    <a:pos x="113" y="1513"/>
                  </a:cxn>
                  <a:cxn ang="0">
                    <a:pos x="79" y="1432"/>
                  </a:cxn>
                  <a:cxn ang="0">
                    <a:pos x="86" y="1317"/>
                  </a:cxn>
                  <a:cxn ang="0">
                    <a:pos x="89" y="1194"/>
                  </a:cxn>
                  <a:cxn ang="0">
                    <a:pos x="128" y="1068"/>
                  </a:cxn>
                  <a:cxn ang="0">
                    <a:pos x="138" y="915"/>
                  </a:cxn>
                  <a:cxn ang="0">
                    <a:pos x="156" y="871"/>
                  </a:cxn>
                  <a:cxn ang="0">
                    <a:pos x="192" y="751"/>
                  </a:cxn>
                  <a:cxn ang="0">
                    <a:pos x="165" y="617"/>
                  </a:cxn>
                  <a:cxn ang="0">
                    <a:pos x="179" y="530"/>
                  </a:cxn>
                  <a:cxn ang="0">
                    <a:pos x="192" y="450"/>
                  </a:cxn>
                  <a:cxn ang="0">
                    <a:pos x="260" y="312"/>
                  </a:cxn>
                  <a:cxn ang="0">
                    <a:pos x="263" y="221"/>
                  </a:cxn>
                  <a:cxn ang="0">
                    <a:pos x="317" y="139"/>
                  </a:cxn>
                  <a:cxn ang="0">
                    <a:pos x="340" y="62"/>
                  </a:cxn>
                  <a:cxn ang="0">
                    <a:pos x="396" y="0"/>
                  </a:cxn>
                  <a:cxn ang="0">
                    <a:pos x="477" y="30"/>
                  </a:cxn>
                  <a:cxn ang="0">
                    <a:pos x="507" y="16"/>
                  </a:cxn>
                  <a:cxn ang="0">
                    <a:pos x="577" y="27"/>
                  </a:cxn>
                  <a:cxn ang="0">
                    <a:pos x="671" y="105"/>
                  </a:cxn>
                  <a:cxn ang="0">
                    <a:pos x="752" y="143"/>
                  </a:cxn>
                  <a:cxn ang="0">
                    <a:pos x="850" y="209"/>
                  </a:cxn>
                  <a:cxn ang="0">
                    <a:pos x="821" y="302"/>
                  </a:cxn>
                  <a:cxn ang="0">
                    <a:pos x="908" y="342"/>
                  </a:cxn>
                  <a:cxn ang="0">
                    <a:pos x="972" y="332"/>
                  </a:cxn>
                  <a:cxn ang="0">
                    <a:pos x="1025" y="280"/>
                  </a:cxn>
                  <a:cxn ang="0">
                    <a:pos x="1080" y="270"/>
                  </a:cxn>
                  <a:cxn ang="0">
                    <a:pos x="1023" y="344"/>
                  </a:cxn>
                  <a:cxn ang="0">
                    <a:pos x="914" y="467"/>
                  </a:cxn>
                  <a:cxn ang="0">
                    <a:pos x="851" y="528"/>
                  </a:cxn>
                  <a:cxn ang="0">
                    <a:pos x="835" y="686"/>
                  </a:cxn>
                  <a:cxn ang="0">
                    <a:pos x="813" y="776"/>
                  </a:cxn>
                  <a:cxn ang="0">
                    <a:pos x="878" y="892"/>
                  </a:cxn>
                  <a:cxn ang="0">
                    <a:pos x="877" y="1004"/>
                  </a:cxn>
                  <a:cxn ang="0">
                    <a:pos x="765" y="1080"/>
                  </a:cxn>
                  <a:cxn ang="0">
                    <a:pos x="604" y="1088"/>
                  </a:cxn>
                  <a:cxn ang="0">
                    <a:pos x="604" y="1169"/>
                  </a:cxn>
                  <a:cxn ang="0">
                    <a:pos x="526" y="1251"/>
                  </a:cxn>
                  <a:cxn ang="0">
                    <a:pos x="457" y="1270"/>
                  </a:cxn>
                  <a:cxn ang="0">
                    <a:pos x="505" y="1332"/>
                  </a:cxn>
                  <a:cxn ang="0">
                    <a:pos x="518" y="1376"/>
                  </a:cxn>
                  <a:cxn ang="0">
                    <a:pos x="463" y="1361"/>
                  </a:cxn>
                  <a:cxn ang="0">
                    <a:pos x="466" y="1407"/>
                  </a:cxn>
                  <a:cxn ang="0">
                    <a:pos x="445" y="1501"/>
                  </a:cxn>
                  <a:cxn ang="0">
                    <a:pos x="386" y="1547"/>
                  </a:cxn>
                  <a:cxn ang="0">
                    <a:pos x="318" y="1633"/>
                  </a:cxn>
                  <a:cxn ang="0">
                    <a:pos x="414" y="1705"/>
                  </a:cxn>
                  <a:cxn ang="0">
                    <a:pos x="410" y="1780"/>
                  </a:cxn>
                  <a:cxn ang="0">
                    <a:pos x="321" y="1862"/>
                  </a:cxn>
                  <a:cxn ang="0">
                    <a:pos x="276" y="1953"/>
                  </a:cxn>
                  <a:cxn ang="0">
                    <a:pos x="238" y="1983"/>
                  </a:cxn>
                  <a:cxn ang="0">
                    <a:pos x="225" y="2080"/>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grp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1015" name="Freeform 237"/>
              <p:cNvSpPr>
                <a:spLocks noChangeAspect="1"/>
              </p:cNvSpPr>
              <p:nvPr/>
            </p:nvSpPr>
            <p:spPr bwMode="gray">
              <a:xfrm>
                <a:off x="1709" y="3154"/>
                <a:ext cx="23" cy="27"/>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16" name="Freeform 238"/>
              <p:cNvSpPr>
                <a:spLocks noChangeAspect="1"/>
              </p:cNvSpPr>
              <p:nvPr/>
            </p:nvSpPr>
            <p:spPr bwMode="gray">
              <a:xfrm>
                <a:off x="1712" y="2353"/>
                <a:ext cx="148" cy="126"/>
              </a:xfrm>
              <a:custGeom>
                <a:avLst/>
                <a:gdLst/>
                <a:ahLst/>
                <a:cxnLst>
                  <a:cxn ang="0">
                    <a:pos x="84" y="47"/>
                  </a:cxn>
                  <a:cxn ang="0">
                    <a:pos x="97" y="77"/>
                  </a:cxn>
                  <a:cxn ang="0">
                    <a:pos x="73" y="133"/>
                  </a:cxn>
                  <a:cxn ang="0">
                    <a:pos x="98" y="176"/>
                  </a:cxn>
                  <a:cxn ang="0">
                    <a:pos x="126" y="148"/>
                  </a:cxn>
                  <a:cxn ang="0">
                    <a:pos x="108" y="74"/>
                  </a:cxn>
                  <a:cxn ang="0">
                    <a:pos x="196" y="42"/>
                  </a:cxn>
                  <a:cxn ang="0">
                    <a:pos x="169" y="27"/>
                  </a:cxn>
                  <a:cxn ang="0">
                    <a:pos x="191" y="2"/>
                  </a:cxn>
                  <a:cxn ang="0">
                    <a:pos x="243" y="46"/>
                  </a:cxn>
                  <a:cxn ang="0">
                    <a:pos x="285" y="88"/>
                  </a:cxn>
                  <a:cxn ang="0">
                    <a:pos x="366" y="88"/>
                  </a:cxn>
                  <a:cxn ang="0">
                    <a:pos x="411" y="106"/>
                  </a:cxn>
                  <a:cxn ang="0">
                    <a:pos x="495" y="99"/>
                  </a:cxn>
                  <a:cxn ang="0">
                    <a:pos x="499" y="88"/>
                  </a:cxn>
                  <a:cxn ang="0">
                    <a:pos x="621" y="86"/>
                  </a:cxn>
                  <a:cxn ang="0">
                    <a:pos x="573" y="95"/>
                  </a:cxn>
                  <a:cxn ang="0">
                    <a:pos x="593" y="117"/>
                  </a:cxn>
                  <a:cxn ang="0">
                    <a:pos x="663" y="150"/>
                  </a:cxn>
                  <a:cxn ang="0">
                    <a:pos x="689" y="197"/>
                  </a:cxn>
                  <a:cxn ang="0">
                    <a:pos x="695" y="211"/>
                  </a:cxn>
                  <a:cxn ang="0">
                    <a:pos x="737" y="209"/>
                  </a:cxn>
                  <a:cxn ang="0">
                    <a:pos x="728" y="231"/>
                  </a:cxn>
                  <a:cxn ang="0">
                    <a:pos x="689" y="252"/>
                  </a:cxn>
                  <a:cxn ang="0">
                    <a:pos x="702" y="279"/>
                  </a:cxn>
                  <a:cxn ang="0">
                    <a:pos x="673" y="321"/>
                  </a:cxn>
                  <a:cxn ang="0">
                    <a:pos x="674" y="359"/>
                  </a:cxn>
                  <a:cxn ang="0">
                    <a:pos x="699" y="401"/>
                  </a:cxn>
                  <a:cxn ang="0">
                    <a:pos x="646" y="432"/>
                  </a:cxn>
                  <a:cxn ang="0">
                    <a:pos x="568" y="459"/>
                  </a:cxn>
                  <a:cxn ang="0">
                    <a:pos x="474" y="437"/>
                  </a:cxn>
                  <a:cxn ang="0">
                    <a:pos x="497" y="467"/>
                  </a:cxn>
                  <a:cxn ang="0">
                    <a:pos x="501" y="524"/>
                  </a:cxn>
                  <a:cxn ang="0">
                    <a:pos x="546" y="550"/>
                  </a:cxn>
                  <a:cxn ang="0">
                    <a:pos x="518" y="565"/>
                  </a:cxn>
                  <a:cxn ang="0">
                    <a:pos x="486" y="593"/>
                  </a:cxn>
                  <a:cxn ang="0">
                    <a:pos x="452" y="607"/>
                  </a:cxn>
                  <a:cxn ang="0">
                    <a:pos x="402" y="631"/>
                  </a:cxn>
                  <a:cxn ang="0">
                    <a:pos x="361" y="612"/>
                  </a:cxn>
                  <a:cxn ang="0">
                    <a:pos x="321" y="532"/>
                  </a:cxn>
                  <a:cxn ang="0">
                    <a:pos x="328" y="492"/>
                  </a:cxn>
                  <a:cxn ang="0">
                    <a:pos x="315" y="459"/>
                  </a:cxn>
                  <a:cxn ang="0">
                    <a:pos x="299" y="419"/>
                  </a:cxn>
                  <a:cxn ang="0">
                    <a:pos x="314" y="357"/>
                  </a:cxn>
                  <a:cxn ang="0">
                    <a:pos x="314" y="330"/>
                  </a:cxn>
                  <a:cxn ang="0">
                    <a:pos x="253" y="337"/>
                  </a:cxn>
                  <a:cxn ang="0">
                    <a:pos x="217" y="338"/>
                  </a:cxn>
                  <a:cxn ang="0">
                    <a:pos x="169" y="289"/>
                  </a:cxn>
                  <a:cxn ang="0">
                    <a:pos x="90" y="287"/>
                  </a:cxn>
                  <a:cxn ang="0">
                    <a:pos x="52" y="229"/>
                  </a:cxn>
                  <a:cxn ang="0">
                    <a:pos x="31" y="196"/>
                  </a:cxn>
                  <a:cxn ang="0">
                    <a:pos x="14" y="140"/>
                  </a:cxn>
                  <a:cxn ang="0">
                    <a:pos x="79" y="29"/>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17" name="Freeform 239"/>
              <p:cNvSpPr>
                <a:spLocks noChangeAspect="1"/>
              </p:cNvSpPr>
              <p:nvPr/>
            </p:nvSpPr>
            <p:spPr bwMode="gray">
              <a:xfrm>
                <a:off x="1629" y="2473"/>
                <a:ext cx="62" cy="69"/>
              </a:xfrm>
              <a:custGeom>
                <a:avLst/>
                <a:gdLst/>
                <a:ahLst/>
                <a:cxnLst>
                  <a:cxn ang="0">
                    <a:pos x="112" y="2"/>
                  </a:cxn>
                  <a:cxn ang="0">
                    <a:pos x="147" y="18"/>
                  </a:cxn>
                  <a:cxn ang="0">
                    <a:pos x="189" y="41"/>
                  </a:cxn>
                  <a:cxn ang="0">
                    <a:pos x="194" y="57"/>
                  </a:cxn>
                  <a:cxn ang="0">
                    <a:pos x="209" y="62"/>
                  </a:cxn>
                  <a:cxn ang="0">
                    <a:pos x="222" y="60"/>
                  </a:cxn>
                  <a:cxn ang="0">
                    <a:pos x="253" y="62"/>
                  </a:cxn>
                  <a:cxn ang="0">
                    <a:pos x="259" y="54"/>
                  </a:cxn>
                  <a:cxn ang="0">
                    <a:pos x="271" y="56"/>
                  </a:cxn>
                  <a:cxn ang="0">
                    <a:pos x="284" y="65"/>
                  </a:cxn>
                  <a:cxn ang="0">
                    <a:pos x="304" y="76"/>
                  </a:cxn>
                  <a:cxn ang="0">
                    <a:pos x="291" y="78"/>
                  </a:cxn>
                  <a:cxn ang="0">
                    <a:pos x="295" y="89"/>
                  </a:cxn>
                  <a:cxn ang="0">
                    <a:pos x="302" y="103"/>
                  </a:cxn>
                  <a:cxn ang="0">
                    <a:pos x="311" y="125"/>
                  </a:cxn>
                  <a:cxn ang="0">
                    <a:pos x="302" y="126"/>
                  </a:cxn>
                  <a:cxn ang="0">
                    <a:pos x="280" y="165"/>
                  </a:cxn>
                  <a:cxn ang="0">
                    <a:pos x="260" y="186"/>
                  </a:cxn>
                  <a:cxn ang="0">
                    <a:pos x="241" y="207"/>
                  </a:cxn>
                  <a:cxn ang="0">
                    <a:pos x="216" y="221"/>
                  </a:cxn>
                  <a:cxn ang="0">
                    <a:pos x="162" y="239"/>
                  </a:cxn>
                  <a:cxn ang="0">
                    <a:pos x="152" y="247"/>
                  </a:cxn>
                  <a:cxn ang="0">
                    <a:pos x="146" y="266"/>
                  </a:cxn>
                  <a:cxn ang="0">
                    <a:pos x="140" y="269"/>
                  </a:cxn>
                  <a:cxn ang="0">
                    <a:pos x="134" y="265"/>
                  </a:cxn>
                  <a:cxn ang="0">
                    <a:pos x="120" y="286"/>
                  </a:cxn>
                  <a:cxn ang="0">
                    <a:pos x="118" y="320"/>
                  </a:cxn>
                  <a:cxn ang="0">
                    <a:pos x="114" y="329"/>
                  </a:cxn>
                  <a:cxn ang="0">
                    <a:pos x="97" y="340"/>
                  </a:cxn>
                  <a:cxn ang="0">
                    <a:pos x="78" y="344"/>
                  </a:cxn>
                  <a:cxn ang="0">
                    <a:pos x="71" y="330"/>
                  </a:cxn>
                  <a:cxn ang="0">
                    <a:pos x="60" y="321"/>
                  </a:cxn>
                  <a:cxn ang="0">
                    <a:pos x="46" y="318"/>
                  </a:cxn>
                  <a:cxn ang="0">
                    <a:pos x="33" y="314"/>
                  </a:cxn>
                  <a:cxn ang="0">
                    <a:pos x="21" y="320"/>
                  </a:cxn>
                  <a:cxn ang="0">
                    <a:pos x="17" y="304"/>
                  </a:cxn>
                  <a:cxn ang="0">
                    <a:pos x="15" y="297"/>
                  </a:cxn>
                  <a:cxn ang="0">
                    <a:pos x="28" y="290"/>
                  </a:cxn>
                  <a:cxn ang="0">
                    <a:pos x="32" y="276"/>
                  </a:cxn>
                  <a:cxn ang="0">
                    <a:pos x="28" y="264"/>
                  </a:cxn>
                  <a:cxn ang="0">
                    <a:pos x="27" y="261"/>
                  </a:cxn>
                  <a:cxn ang="0">
                    <a:pos x="40" y="254"/>
                  </a:cxn>
                  <a:cxn ang="0">
                    <a:pos x="53" y="243"/>
                  </a:cxn>
                  <a:cxn ang="0">
                    <a:pos x="59" y="213"/>
                  </a:cxn>
                  <a:cxn ang="0">
                    <a:pos x="53" y="205"/>
                  </a:cxn>
                  <a:cxn ang="0">
                    <a:pos x="45" y="197"/>
                  </a:cxn>
                  <a:cxn ang="0">
                    <a:pos x="30" y="217"/>
                  </a:cxn>
                  <a:cxn ang="0">
                    <a:pos x="21" y="210"/>
                  </a:cxn>
                  <a:cxn ang="0">
                    <a:pos x="2" y="199"/>
                  </a:cxn>
                  <a:cxn ang="0">
                    <a:pos x="0" y="164"/>
                  </a:cxn>
                  <a:cxn ang="0">
                    <a:pos x="1" y="130"/>
                  </a:cxn>
                  <a:cxn ang="0">
                    <a:pos x="17" y="120"/>
                  </a:cxn>
                  <a:cxn ang="0">
                    <a:pos x="26" y="97"/>
                  </a:cxn>
                  <a:cxn ang="0">
                    <a:pos x="40" y="72"/>
                  </a:cxn>
                  <a:cxn ang="0">
                    <a:pos x="44" y="60"/>
                  </a:cxn>
                  <a:cxn ang="0">
                    <a:pos x="42" y="33"/>
                  </a:cxn>
                  <a:cxn ang="0">
                    <a:pos x="66" y="27"/>
                  </a:cxn>
                  <a:cxn ang="0">
                    <a:pos x="71" y="24"/>
                  </a:cxn>
                  <a:cxn ang="0">
                    <a:pos x="88" y="9"/>
                  </a:cxn>
                  <a:cxn ang="0">
                    <a:pos x="103" y="7"/>
                  </a:cxn>
                  <a:cxn ang="0">
                    <a:pos x="109" y="0"/>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18" name="Freeform 240"/>
              <p:cNvSpPr>
                <a:spLocks noChangeAspect="1"/>
              </p:cNvSpPr>
              <p:nvPr/>
            </p:nvSpPr>
            <p:spPr bwMode="gray">
              <a:xfrm>
                <a:off x="1828" y="2701"/>
                <a:ext cx="92" cy="98"/>
              </a:xfrm>
              <a:custGeom>
                <a:avLst/>
                <a:gdLst/>
                <a:ahLst/>
                <a:cxnLst>
                  <a:cxn ang="0">
                    <a:pos x="8" y="164"/>
                  </a:cxn>
                  <a:cxn ang="0">
                    <a:pos x="19" y="117"/>
                  </a:cxn>
                  <a:cxn ang="0">
                    <a:pos x="18" y="87"/>
                  </a:cxn>
                  <a:cxn ang="0">
                    <a:pos x="29" y="66"/>
                  </a:cxn>
                  <a:cxn ang="0">
                    <a:pos x="43" y="35"/>
                  </a:cxn>
                  <a:cxn ang="0">
                    <a:pos x="64" y="25"/>
                  </a:cxn>
                  <a:cxn ang="0">
                    <a:pos x="121" y="8"/>
                  </a:cxn>
                  <a:cxn ang="0">
                    <a:pos x="156" y="0"/>
                  </a:cxn>
                  <a:cxn ang="0">
                    <a:pos x="212" y="3"/>
                  </a:cxn>
                  <a:cxn ang="0">
                    <a:pos x="232" y="19"/>
                  </a:cxn>
                  <a:cxn ang="0">
                    <a:pos x="248" y="44"/>
                  </a:cxn>
                  <a:cxn ang="0">
                    <a:pos x="252" y="55"/>
                  </a:cxn>
                  <a:cxn ang="0">
                    <a:pos x="260" y="71"/>
                  </a:cxn>
                  <a:cxn ang="0">
                    <a:pos x="261" y="121"/>
                  </a:cxn>
                  <a:cxn ang="0">
                    <a:pos x="265" y="163"/>
                  </a:cxn>
                  <a:cxn ang="0">
                    <a:pos x="286" y="169"/>
                  </a:cxn>
                  <a:cxn ang="0">
                    <a:pos x="311" y="175"/>
                  </a:cxn>
                  <a:cxn ang="0">
                    <a:pos x="335" y="174"/>
                  </a:cxn>
                  <a:cxn ang="0">
                    <a:pos x="349" y="168"/>
                  </a:cxn>
                  <a:cxn ang="0">
                    <a:pos x="378" y="180"/>
                  </a:cxn>
                  <a:cxn ang="0">
                    <a:pos x="386" y="195"/>
                  </a:cxn>
                  <a:cxn ang="0">
                    <a:pos x="392" y="230"/>
                  </a:cxn>
                  <a:cxn ang="0">
                    <a:pos x="392" y="260"/>
                  </a:cxn>
                  <a:cxn ang="0">
                    <a:pos x="404" y="272"/>
                  </a:cxn>
                  <a:cxn ang="0">
                    <a:pos x="421" y="275"/>
                  </a:cxn>
                  <a:cxn ang="0">
                    <a:pos x="440" y="272"/>
                  </a:cxn>
                  <a:cxn ang="0">
                    <a:pos x="454" y="275"/>
                  </a:cxn>
                  <a:cxn ang="0">
                    <a:pos x="459" y="308"/>
                  </a:cxn>
                  <a:cxn ang="0">
                    <a:pos x="454" y="327"/>
                  </a:cxn>
                  <a:cxn ang="0">
                    <a:pos x="449" y="374"/>
                  </a:cxn>
                  <a:cxn ang="0">
                    <a:pos x="443" y="420"/>
                  </a:cxn>
                  <a:cxn ang="0">
                    <a:pos x="433" y="438"/>
                  </a:cxn>
                  <a:cxn ang="0">
                    <a:pos x="411" y="458"/>
                  </a:cxn>
                  <a:cxn ang="0">
                    <a:pos x="404" y="463"/>
                  </a:cxn>
                  <a:cxn ang="0">
                    <a:pos x="388" y="479"/>
                  </a:cxn>
                  <a:cxn ang="0">
                    <a:pos x="378" y="482"/>
                  </a:cxn>
                  <a:cxn ang="0">
                    <a:pos x="356" y="483"/>
                  </a:cxn>
                  <a:cxn ang="0">
                    <a:pos x="345" y="491"/>
                  </a:cxn>
                  <a:cxn ang="0">
                    <a:pos x="333" y="488"/>
                  </a:cxn>
                  <a:cxn ang="0">
                    <a:pos x="313" y="487"/>
                  </a:cxn>
                  <a:cxn ang="0">
                    <a:pos x="290" y="474"/>
                  </a:cxn>
                  <a:cxn ang="0">
                    <a:pos x="236" y="469"/>
                  </a:cxn>
                  <a:cxn ang="0">
                    <a:pos x="233" y="459"/>
                  </a:cxn>
                  <a:cxn ang="0">
                    <a:pos x="238" y="442"/>
                  </a:cxn>
                  <a:cxn ang="0">
                    <a:pos x="264" y="395"/>
                  </a:cxn>
                  <a:cxn ang="0">
                    <a:pos x="273" y="372"/>
                  </a:cxn>
                  <a:cxn ang="0">
                    <a:pos x="269" y="358"/>
                  </a:cxn>
                  <a:cxn ang="0">
                    <a:pos x="260" y="348"/>
                  </a:cxn>
                  <a:cxn ang="0">
                    <a:pos x="238" y="339"/>
                  </a:cxn>
                  <a:cxn ang="0">
                    <a:pos x="214" y="319"/>
                  </a:cxn>
                  <a:cxn ang="0">
                    <a:pos x="173" y="293"/>
                  </a:cxn>
                  <a:cxn ang="0">
                    <a:pos x="155" y="287"/>
                  </a:cxn>
                  <a:cxn ang="0">
                    <a:pos x="118" y="283"/>
                  </a:cxn>
                  <a:cxn ang="0">
                    <a:pos x="102" y="276"/>
                  </a:cxn>
                  <a:cxn ang="0">
                    <a:pos x="89" y="256"/>
                  </a:cxn>
                  <a:cxn ang="0">
                    <a:pos x="74" y="246"/>
                  </a:cxn>
                  <a:cxn ang="0">
                    <a:pos x="46" y="223"/>
                  </a:cxn>
                  <a:cxn ang="0">
                    <a:pos x="22" y="189"/>
                  </a:cxn>
                  <a:cxn ang="0">
                    <a:pos x="0" y="179"/>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19" name="Freeform 241"/>
              <p:cNvSpPr>
                <a:spLocks noChangeAspect="1"/>
              </p:cNvSpPr>
              <p:nvPr/>
            </p:nvSpPr>
            <p:spPr bwMode="gray">
              <a:xfrm>
                <a:off x="1687" y="2681"/>
                <a:ext cx="93" cy="506"/>
              </a:xfrm>
              <a:custGeom>
                <a:avLst/>
                <a:gdLst/>
                <a:ahLst/>
                <a:cxnLst>
                  <a:cxn ang="0">
                    <a:pos x="375" y="93"/>
                  </a:cxn>
                  <a:cxn ang="0">
                    <a:pos x="368" y="149"/>
                  </a:cxn>
                  <a:cxn ang="0">
                    <a:pos x="398" y="209"/>
                  </a:cxn>
                  <a:cxn ang="0">
                    <a:pos x="429" y="311"/>
                  </a:cxn>
                  <a:cxn ang="0">
                    <a:pos x="436" y="385"/>
                  </a:cxn>
                  <a:cxn ang="0">
                    <a:pos x="387" y="508"/>
                  </a:cxn>
                  <a:cxn ang="0">
                    <a:pos x="329" y="628"/>
                  </a:cxn>
                  <a:cxn ang="0">
                    <a:pos x="300" y="766"/>
                  </a:cxn>
                  <a:cxn ang="0">
                    <a:pos x="284" y="863"/>
                  </a:cxn>
                  <a:cxn ang="0">
                    <a:pos x="298" y="1032"/>
                  </a:cxn>
                  <a:cxn ang="0">
                    <a:pos x="269" y="1148"/>
                  </a:cxn>
                  <a:cxn ang="0">
                    <a:pos x="242" y="1290"/>
                  </a:cxn>
                  <a:cxn ang="0">
                    <a:pos x="208" y="1440"/>
                  </a:cxn>
                  <a:cxn ang="0">
                    <a:pos x="190" y="1597"/>
                  </a:cxn>
                  <a:cxn ang="0">
                    <a:pos x="201" y="1739"/>
                  </a:cxn>
                  <a:cxn ang="0">
                    <a:pos x="214" y="1785"/>
                  </a:cxn>
                  <a:cxn ang="0">
                    <a:pos x="212" y="1915"/>
                  </a:cxn>
                  <a:cxn ang="0">
                    <a:pos x="171" y="2027"/>
                  </a:cxn>
                  <a:cxn ang="0">
                    <a:pos x="137" y="2139"/>
                  </a:cxn>
                  <a:cxn ang="0">
                    <a:pos x="129" y="2264"/>
                  </a:cxn>
                  <a:cxn ang="0">
                    <a:pos x="179" y="2283"/>
                  </a:cxn>
                  <a:cxn ang="0">
                    <a:pos x="306" y="2367"/>
                  </a:cxn>
                  <a:cxn ang="0">
                    <a:pos x="355" y="2386"/>
                  </a:cxn>
                  <a:cxn ang="0">
                    <a:pos x="268" y="2429"/>
                  </a:cxn>
                  <a:cxn ang="0">
                    <a:pos x="214" y="2525"/>
                  </a:cxn>
                  <a:cxn ang="0">
                    <a:pos x="208" y="2477"/>
                  </a:cxn>
                  <a:cxn ang="0">
                    <a:pos x="189" y="2413"/>
                  </a:cxn>
                  <a:cxn ang="0">
                    <a:pos x="171" y="2376"/>
                  </a:cxn>
                  <a:cxn ang="0">
                    <a:pos x="160" y="2345"/>
                  </a:cxn>
                  <a:cxn ang="0">
                    <a:pos x="125" y="2343"/>
                  </a:cxn>
                  <a:cxn ang="0">
                    <a:pos x="81" y="2285"/>
                  </a:cxn>
                  <a:cxn ang="0">
                    <a:pos x="79" y="2240"/>
                  </a:cxn>
                  <a:cxn ang="0">
                    <a:pos x="70" y="2173"/>
                  </a:cxn>
                  <a:cxn ang="0">
                    <a:pos x="93" y="2117"/>
                  </a:cxn>
                  <a:cxn ang="0">
                    <a:pos x="70" y="2076"/>
                  </a:cxn>
                  <a:cxn ang="0">
                    <a:pos x="59" y="2042"/>
                  </a:cxn>
                  <a:cxn ang="0">
                    <a:pos x="109" y="2032"/>
                  </a:cxn>
                  <a:cxn ang="0">
                    <a:pos x="63" y="1979"/>
                  </a:cxn>
                  <a:cxn ang="0">
                    <a:pos x="66" y="1920"/>
                  </a:cxn>
                  <a:cxn ang="0">
                    <a:pos x="15" y="1930"/>
                  </a:cxn>
                  <a:cxn ang="0">
                    <a:pos x="44" y="1871"/>
                  </a:cxn>
                  <a:cxn ang="0">
                    <a:pos x="72" y="1856"/>
                  </a:cxn>
                  <a:cxn ang="0">
                    <a:pos x="91" y="1888"/>
                  </a:cxn>
                  <a:cxn ang="0">
                    <a:pos x="118" y="1879"/>
                  </a:cxn>
                  <a:cxn ang="0">
                    <a:pos x="114" y="1849"/>
                  </a:cxn>
                  <a:cxn ang="0">
                    <a:pos x="117" y="1818"/>
                  </a:cxn>
                  <a:cxn ang="0">
                    <a:pos x="120" y="1806"/>
                  </a:cxn>
                  <a:cxn ang="0">
                    <a:pos x="149" y="1740"/>
                  </a:cxn>
                  <a:cxn ang="0">
                    <a:pos x="146" y="1691"/>
                  </a:cxn>
                  <a:cxn ang="0">
                    <a:pos x="158" y="1601"/>
                  </a:cxn>
                  <a:cxn ang="0">
                    <a:pos x="153" y="1558"/>
                  </a:cxn>
                  <a:cxn ang="0">
                    <a:pos x="141" y="1525"/>
                  </a:cxn>
                  <a:cxn ang="0">
                    <a:pos x="92" y="1504"/>
                  </a:cxn>
                  <a:cxn ang="0">
                    <a:pos x="115" y="1329"/>
                  </a:cxn>
                  <a:cxn ang="0">
                    <a:pos x="122" y="1219"/>
                  </a:cxn>
                  <a:cxn ang="0">
                    <a:pos x="166" y="1105"/>
                  </a:cxn>
                  <a:cxn ang="0">
                    <a:pos x="221" y="928"/>
                  </a:cxn>
                  <a:cxn ang="0">
                    <a:pos x="226" y="719"/>
                  </a:cxn>
                  <a:cxn ang="0">
                    <a:pos x="253" y="565"/>
                  </a:cxn>
                  <a:cxn ang="0">
                    <a:pos x="275" y="461"/>
                  </a:cxn>
                  <a:cxn ang="0">
                    <a:pos x="279" y="317"/>
                  </a:cxn>
                  <a:cxn ang="0">
                    <a:pos x="292" y="142"/>
                  </a:cxn>
                  <a:cxn ang="0">
                    <a:pos x="312" y="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20" name="Freeform 242"/>
              <p:cNvSpPr>
                <a:spLocks noChangeAspect="1"/>
              </p:cNvSpPr>
              <p:nvPr/>
            </p:nvSpPr>
            <p:spPr bwMode="gray">
              <a:xfrm>
                <a:off x="1733" y="3162"/>
                <a:ext cx="31" cy="47"/>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21" name="Freeform 243"/>
              <p:cNvSpPr>
                <a:spLocks noChangeAspect="1"/>
              </p:cNvSpPr>
              <p:nvPr/>
            </p:nvSpPr>
            <p:spPr bwMode="gray">
              <a:xfrm>
                <a:off x="1964" y="2482"/>
                <a:ext cx="6" cy="5"/>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22" name="Freeform 244"/>
              <p:cNvSpPr>
                <a:spLocks noChangeAspect="1"/>
              </p:cNvSpPr>
              <p:nvPr/>
            </p:nvSpPr>
            <p:spPr bwMode="gray">
              <a:xfrm>
                <a:off x="1971" y="2487"/>
                <a:ext cx="4" cy="2"/>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23" name="Freeform 245"/>
              <p:cNvSpPr>
                <a:spLocks noChangeAspect="1"/>
              </p:cNvSpPr>
              <p:nvPr/>
            </p:nvSpPr>
            <p:spPr bwMode="gray">
              <a:xfrm>
                <a:off x="1962" y="2489"/>
                <a:ext cx="23" cy="17"/>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24" name="Freeform 246"/>
              <p:cNvSpPr>
                <a:spLocks noChangeAspect="1"/>
              </p:cNvSpPr>
              <p:nvPr/>
            </p:nvSpPr>
            <p:spPr bwMode="gray">
              <a:xfrm>
                <a:off x="1955" y="2487"/>
                <a:ext cx="7" cy="8"/>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25" name="Freeform 247"/>
              <p:cNvSpPr>
                <a:spLocks noChangeAspect="1"/>
              </p:cNvSpPr>
              <p:nvPr/>
            </p:nvSpPr>
            <p:spPr bwMode="gray">
              <a:xfrm>
                <a:off x="1967" y="2482"/>
                <a:ext cx="1" cy="1"/>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26" name="Freeform 248"/>
              <p:cNvSpPr>
                <a:spLocks noChangeAspect="1"/>
              </p:cNvSpPr>
              <p:nvPr/>
            </p:nvSpPr>
            <p:spPr bwMode="gray">
              <a:xfrm>
                <a:off x="1963" y="2487"/>
                <a:ext cx="2" cy="1"/>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27" name="Freeform 249"/>
              <p:cNvSpPr>
                <a:spLocks noChangeAspect="1"/>
              </p:cNvSpPr>
              <p:nvPr/>
            </p:nvSpPr>
            <p:spPr bwMode="gray">
              <a:xfrm>
                <a:off x="1706" y="2430"/>
                <a:ext cx="427" cy="448"/>
              </a:xfrm>
              <a:custGeom>
                <a:avLst/>
                <a:gdLst/>
                <a:ahLst/>
                <a:cxnLst>
                  <a:cxn ang="0">
                    <a:pos x="598" y="69"/>
                  </a:cxn>
                  <a:cxn ang="0">
                    <a:pos x="523" y="81"/>
                  </a:cxn>
                  <a:cxn ang="0">
                    <a:pos x="572" y="165"/>
                  </a:cxn>
                  <a:cxn ang="0">
                    <a:pos x="503" y="211"/>
                  </a:cxn>
                  <a:cxn ang="0">
                    <a:pos x="408" y="243"/>
                  </a:cxn>
                  <a:cxn ang="0">
                    <a:pos x="317" y="186"/>
                  </a:cxn>
                  <a:cxn ang="0">
                    <a:pos x="225" y="231"/>
                  </a:cxn>
                  <a:cxn ang="0">
                    <a:pos x="210" y="254"/>
                  </a:cxn>
                  <a:cxn ang="0">
                    <a:pos x="220" y="460"/>
                  </a:cxn>
                  <a:cxn ang="0">
                    <a:pos x="83" y="554"/>
                  </a:cxn>
                  <a:cxn ang="0">
                    <a:pos x="0" y="698"/>
                  </a:cxn>
                  <a:cxn ang="0">
                    <a:pos x="82" y="806"/>
                  </a:cxn>
                  <a:cxn ang="0">
                    <a:pos x="180" y="853"/>
                  </a:cxn>
                  <a:cxn ang="0">
                    <a:pos x="303" y="883"/>
                  </a:cxn>
                  <a:cxn ang="0">
                    <a:pos x="468" y="840"/>
                  </a:cxn>
                  <a:cxn ang="0">
                    <a:pos x="573" y="973"/>
                  </a:cxn>
                  <a:cxn ang="0">
                    <a:pos x="720" y="1039"/>
                  </a:cxn>
                  <a:cxn ang="0">
                    <a:pos x="749" y="1181"/>
                  </a:cxn>
                  <a:cxn ang="0">
                    <a:pos x="863" y="1243"/>
                  </a:cxn>
                  <a:cxn ang="0">
                    <a:pos x="872" y="1398"/>
                  </a:cxn>
                  <a:cxn ang="0">
                    <a:pos x="901" y="1526"/>
                  </a:cxn>
                  <a:cxn ang="0">
                    <a:pos x="1000" y="1613"/>
                  </a:cxn>
                  <a:cxn ang="0">
                    <a:pos x="1059" y="1706"/>
                  </a:cxn>
                  <a:cxn ang="0">
                    <a:pos x="1054" y="1841"/>
                  </a:cxn>
                  <a:cxn ang="0">
                    <a:pos x="904" y="2000"/>
                  </a:cxn>
                  <a:cxn ang="0">
                    <a:pos x="973" y="2055"/>
                  </a:cxn>
                  <a:cxn ang="0">
                    <a:pos x="1052" y="2092"/>
                  </a:cxn>
                  <a:cxn ang="0">
                    <a:pos x="1126" y="2180"/>
                  </a:cxn>
                  <a:cxn ang="0">
                    <a:pos x="1156" y="2196"/>
                  </a:cxn>
                  <a:cxn ang="0">
                    <a:pos x="1275" y="2045"/>
                  </a:cxn>
                  <a:cxn ang="0">
                    <a:pos x="1377" y="1895"/>
                  </a:cxn>
                  <a:cxn ang="0">
                    <a:pos x="1376" y="1762"/>
                  </a:cxn>
                  <a:cxn ang="0">
                    <a:pos x="1474" y="1650"/>
                  </a:cxn>
                  <a:cxn ang="0">
                    <a:pos x="1598" y="1588"/>
                  </a:cxn>
                  <a:cxn ang="0">
                    <a:pos x="1657" y="1570"/>
                  </a:cxn>
                  <a:cxn ang="0">
                    <a:pos x="1787" y="1512"/>
                  </a:cxn>
                  <a:cxn ang="0">
                    <a:pos x="1868" y="1305"/>
                  </a:cxn>
                  <a:cxn ang="0">
                    <a:pos x="1901" y="1102"/>
                  </a:cxn>
                  <a:cxn ang="0">
                    <a:pos x="1975" y="947"/>
                  </a:cxn>
                  <a:cxn ang="0">
                    <a:pos x="2115" y="776"/>
                  </a:cxn>
                  <a:cxn ang="0">
                    <a:pos x="2040" y="565"/>
                  </a:cxn>
                  <a:cxn ang="0">
                    <a:pos x="1896" y="463"/>
                  </a:cxn>
                  <a:cxn ang="0">
                    <a:pos x="1659" y="413"/>
                  </a:cxn>
                  <a:cxn ang="0">
                    <a:pos x="1605" y="404"/>
                  </a:cxn>
                  <a:cxn ang="0">
                    <a:pos x="1561" y="364"/>
                  </a:cxn>
                  <a:cxn ang="0">
                    <a:pos x="1403" y="342"/>
                  </a:cxn>
                  <a:cxn ang="0">
                    <a:pos x="1344" y="419"/>
                  </a:cxn>
                  <a:cxn ang="0">
                    <a:pos x="1277" y="387"/>
                  </a:cxn>
                  <a:cxn ang="0">
                    <a:pos x="1238" y="381"/>
                  </a:cxn>
                  <a:cxn ang="0">
                    <a:pos x="1261" y="339"/>
                  </a:cxn>
                  <a:cxn ang="0">
                    <a:pos x="1231" y="308"/>
                  </a:cxn>
                  <a:cxn ang="0">
                    <a:pos x="1312" y="195"/>
                  </a:cxn>
                  <a:cxn ang="0">
                    <a:pos x="1247" y="69"/>
                  </a:cxn>
                  <a:cxn ang="0">
                    <a:pos x="1141" y="170"/>
                  </a:cxn>
                  <a:cxn ang="0">
                    <a:pos x="1034" y="149"/>
                  </a:cxn>
                  <a:cxn ang="0">
                    <a:pos x="921" y="177"/>
                  </a:cxn>
                  <a:cxn ang="0">
                    <a:pos x="812" y="213"/>
                  </a:cxn>
                  <a:cxn ang="0">
                    <a:pos x="774" y="96"/>
                  </a:cxn>
                  <a:cxn ang="0">
                    <a:pos x="755" y="0"/>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grp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1028" name="Freeform 250"/>
              <p:cNvSpPr>
                <a:spLocks noChangeAspect="1"/>
              </p:cNvSpPr>
              <p:nvPr/>
            </p:nvSpPr>
            <p:spPr bwMode="gray">
              <a:xfrm>
                <a:off x="1650" y="2350"/>
                <a:ext cx="132" cy="182"/>
              </a:xfrm>
              <a:custGeom>
                <a:avLst/>
                <a:gdLst/>
                <a:ahLst/>
                <a:cxnLst>
                  <a:cxn ang="0">
                    <a:pos x="404" y="0"/>
                  </a:cxn>
                  <a:cxn ang="0">
                    <a:pos x="380" y="12"/>
                  </a:cxn>
                  <a:cxn ang="0">
                    <a:pos x="314" y="58"/>
                  </a:cxn>
                  <a:cxn ang="0">
                    <a:pos x="260" y="65"/>
                  </a:cxn>
                  <a:cxn ang="0">
                    <a:pos x="244" y="82"/>
                  </a:cxn>
                  <a:cxn ang="0">
                    <a:pos x="187" y="102"/>
                  </a:cxn>
                  <a:cxn ang="0">
                    <a:pos x="158" y="170"/>
                  </a:cxn>
                  <a:cxn ang="0">
                    <a:pos x="115" y="213"/>
                  </a:cxn>
                  <a:cxn ang="0">
                    <a:pos x="113" y="242"/>
                  </a:cxn>
                  <a:cxn ang="0">
                    <a:pos x="88" y="226"/>
                  </a:cxn>
                  <a:cxn ang="0">
                    <a:pos x="91" y="251"/>
                  </a:cxn>
                  <a:cxn ang="0">
                    <a:pos x="60" y="278"/>
                  </a:cxn>
                  <a:cxn ang="0">
                    <a:pos x="81" y="320"/>
                  </a:cxn>
                  <a:cxn ang="0">
                    <a:pos x="83" y="380"/>
                  </a:cxn>
                  <a:cxn ang="0">
                    <a:pos x="83" y="462"/>
                  </a:cxn>
                  <a:cxn ang="0">
                    <a:pos x="111" y="472"/>
                  </a:cxn>
                  <a:cxn ang="0">
                    <a:pos x="71" y="533"/>
                  </a:cxn>
                  <a:cxn ang="0">
                    <a:pos x="20" y="560"/>
                  </a:cxn>
                  <a:cxn ang="0">
                    <a:pos x="0" y="596"/>
                  </a:cxn>
                  <a:cxn ang="0">
                    <a:pos x="44" y="629"/>
                  </a:cxn>
                  <a:cxn ang="0">
                    <a:pos x="106" y="673"/>
                  </a:cxn>
                  <a:cxn ang="0">
                    <a:pos x="156" y="665"/>
                  </a:cxn>
                  <a:cxn ang="0">
                    <a:pos x="201" y="687"/>
                  </a:cxn>
                  <a:cxn ang="0">
                    <a:pos x="238" y="708"/>
                  </a:cxn>
                  <a:cxn ang="0">
                    <a:pos x="273" y="743"/>
                  </a:cxn>
                  <a:cxn ang="0">
                    <a:pos x="297" y="776"/>
                  </a:cxn>
                  <a:cxn ang="0">
                    <a:pos x="319" y="811"/>
                  </a:cxn>
                  <a:cxn ang="0">
                    <a:pos x="365" y="821"/>
                  </a:cxn>
                  <a:cxn ang="0">
                    <a:pos x="389" y="807"/>
                  </a:cxn>
                  <a:cxn ang="0">
                    <a:pos x="435" y="807"/>
                  </a:cxn>
                  <a:cxn ang="0">
                    <a:pos x="488" y="842"/>
                  </a:cxn>
                  <a:cxn ang="0">
                    <a:pos x="459" y="892"/>
                  </a:cxn>
                  <a:cxn ang="0">
                    <a:pos x="494" y="909"/>
                  </a:cxn>
                  <a:cxn ang="0">
                    <a:pos x="504" y="858"/>
                  </a:cxn>
                  <a:cxn ang="0">
                    <a:pos x="524" y="752"/>
                  </a:cxn>
                  <a:cxn ang="0">
                    <a:pos x="489" y="655"/>
                  </a:cxn>
                  <a:cxn ang="0">
                    <a:pos x="532" y="652"/>
                  </a:cxn>
                  <a:cxn ang="0">
                    <a:pos x="518" y="627"/>
                  </a:cxn>
                  <a:cxn ang="0">
                    <a:pos x="501" y="620"/>
                  </a:cxn>
                  <a:cxn ang="0">
                    <a:pos x="591" y="575"/>
                  </a:cxn>
                  <a:cxn ang="0">
                    <a:pos x="633" y="574"/>
                  </a:cxn>
                  <a:cxn ang="0">
                    <a:pos x="658" y="603"/>
                  </a:cxn>
                  <a:cxn ang="0">
                    <a:pos x="626" y="516"/>
                  </a:cxn>
                  <a:cxn ang="0">
                    <a:pos x="640" y="493"/>
                  </a:cxn>
                  <a:cxn ang="0">
                    <a:pos x="615" y="453"/>
                  </a:cxn>
                  <a:cxn ang="0">
                    <a:pos x="615" y="403"/>
                  </a:cxn>
                  <a:cxn ang="0">
                    <a:pos x="633" y="353"/>
                  </a:cxn>
                  <a:cxn ang="0">
                    <a:pos x="583" y="353"/>
                  </a:cxn>
                  <a:cxn ang="0">
                    <a:pos x="544" y="348"/>
                  </a:cxn>
                  <a:cxn ang="0">
                    <a:pos x="494" y="307"/>
                  </a:cxn>
                  <a:cxn ang="0">
                    <a:pos x="443" y="294"/>
                  </a:cxn>
                  <a:cxn ang="0">
                    <a:pos x="376" y="283"/>
                  </a:cxn>
                  <a:cxn ang="0">
                    <a:pos x="353" y="223"/>
                  </a:cxn>
                  <a:cxn ang="0">
                    <a:pos x="334" y="180"/>
                  </a:cxn>
                  <a:cxn ang="0">
                    <a:pos x="375" y="62"/>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29" name="Freeform 251"/>
              <p:cNvSpPr>
                <a:spLocks noChangeAspect="1"/>
              </p:cNvSpPr>
              <p:nvPr/>
            </p:nvSpPr>
            <p:spPr bwMode="gray">
              <a:xfrm>
                <a:off x="1751" y="2592"/>
                <a:ext cx="132" cy="151"/>
              </a:xfrm>
              <a:custGeom>
                <a:avLst/>
                <a:gdLst/>
                <a:ahLst/>
                <a:cxnLst>
                  <a:cxn ang="0">
                    <a:pos x="29" y="74"/>
                  </a:cxn>
                  <a:cxn ang="0">
                    <a:pos x="109" y="59"/>
                  </a:cxn>
                  <a:cxn ang="0">
                    <a:pos x="164" y="7"/>
                  </a:cxn>
                  <a:cxn ang="0">
                    <a:pos x="232" y="1"/>
                  </a:cxn>
                  <a:cxn ang="0">
                    <a:pos x="243" y="60"/>
                  </a:cxn>
                  <a:cxn ang="0">
                    <a:pos x="234" y="88"/>
                  </a:cxn>
                  <a:cxn ang="0">
                    <a:pos x="283" y="151"/>
                  </a:cxn>
                  <a:cxn ang="0">
                    <a:pos x="348" y="161"/>
                  </a:cxn>
                  <a:cxn ang="0">
                    <a:pos x="372" y="183"/>
                  </a:cxn>
                  <a:cxn ang="0">
                    <a:pos x="441" y="211"/>
                  </a:cxn>
                  <a:cxn ang="0">
                    <a:pos x="487" y="222"/>
                  </a:cxn>
                  <a:cxn ang="0">
                    <a:pos x="507" y="268"/>
                  </a:cxn>
                  <a:cxn ang="0">
                    <a:pos x="512" y="307"/>
                  </a:cxn>
                  <a:cxn ang="0">
                    <a:pos x="511" y="334"/>
                  </a:cxn>
                  <a:cxn ang="0">
                    <a:pos x="550" y="370"/>
                  </a:cxn>
                  <a:cxn ang="0">
                    <a:pos x="616" y="373"/>
                  </a:cxn>
                  <a:cxn ang="0">
                    <a:pos x="616" y="399"/>
                  </a:cxn>
                  <a:cxn ang="0">
                    <a:pos x="641" y="434"/>
                  </a:cxn>
                  <a:cxn ang="0">
                    <a:pos x="658" y="500"/>
                  </a:cxn>
                  <a:cxn ang="0">
                    <a:pos x="644" y="555"/>
                  </a:cxn>
                  <a:cxn ang="0">
                    <a:pos x="647" y="586"/>
                  </a:cxn>
                  <a:cxn ang="0">
                    <a:pos x="631" y="585"/>
                  </a:cxn>
                  <a:cxn ang="0">
                    <a:pos x="595" y="544"/>
                  </a:cxn>
                  <a:cxn ang="0">
                    <a:pos x="504" y="549"/>
                  </a:cxn>
                  <a:cxn ang="0">
                    <a:pos x="426" y="576"/>
                  </a:cxn>
                  <a:cxn ang="0">
                    <a:pos x="401" y="628"/>
                  </a:cxn>
                  <a:cxn ang="0">
                    <a:pos x="391" y="705"/>
                  </a:cxn>
                  <a:cxn ang="0">
                    <a:pos x="362" y="706"/>
                  </a:cxn>
                  <a:cxn ang="0">
                    <a:pos x="315" y="701"/>
                  </a:cxn>
                  <a:cxn ang="0">
                    <a:pos x="297" y="735"/>
                  </a:cxn>
                  <a:cxn ang="0">
                    <a:pos x="281" y="726"/>
                  </a:cxn>
                  <a:cxn ang="0">
                    <a:pos x="250" y="710"/>
                  </a:cxn>
                  <a:cxn ang="0">
                    <a:pos x="202" y="695"/>
                  </a:cxn>
                  <a:cxn ang="0">
                    <a:pos x="176" y="708"/>
                  </a:cxn>
                  <a:cxn ang="0">
                    <a:pos x="149" y="737"/>
                  </a:cxn>
                  <a:cxn ang="0">
                    <a:pos x="126" y="752"/>
                  </a:cxn>
                  <a:cxn ang="0">
                    <a:pos x="94" y="751"/>
                  </a:cxn>
                  <a:cxn ang="0">
                    <a:pos x="86" y="711"/>
                  </a:cxn>
                  <a:cxn ang="0">
                    <a:pos x="77" y="652"/>
                  </a:cxn>
                  <a:cxn ang="0">
                    <a:pos x="61" y="626"/>
                  </a:cxn>
                  <a:cxn ang="0">
                    <a:pos x="55" y="602"/>
                  </a:cxn>
                  <a:cxn ang="0">
                    <a:pos x="51" y="579"/>
                  </a:cxn>
                  <a:cxn ang="0">
                    <a:pos x="57" y="564"/>
                  </a:cxn>
                  <a:cxn ang="0">
                    <a:pos x="54" y="536"/>
                  </a:cxn>
                  <a:cxn ang="0">
                    <a:pos x="29" y="480"/>
                  </a:cxn>
                  <a:cxn ang="0">
                    <a:pos x="7" y="443"/>
                  </a:cxn>
                  <a:cxn ang="0">
                    <a:pos x="1" y="431"/>
                  </a:cxn>
                  <a:cxn ang="0">
                    <a:pos x="36" y="373"/>
                  </a:cxn>
                  <a:cxn ang="0">
                    <a:pos x="20" y="357"/>
                  </a:cxn>
                  <a:cxn ang="0">
                    <a:pos x="17" y="328"/>
                  </a:cxn>
                  <a:cxn ang="0">
                    <a:pos x="29" y="303"/>
                  </a:cxn>
                  <a:cxn ang="0">
                    <a:pos x="22" y="276"/>
                  </a:cxn>
                  <a:cxn ang="0">
                    <a:pos x="33" y="231"/>
                  </a:cxn>
                  <a:cxn ang="0">
                    <a:pos x="40" y="166"/>
                  </a:cxn>
                  <a:cxn ang="0">
                    <a:pos x="35" y="12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30" name="Freeform 252"/>
              <p:cNvSpPr>
                <a:spLocks noChangeAspect="1"/>
              </p:cNvSpPr>
              <p:nvPr/>
            </p:nvSpPr>
            <p:spPr bwMode="gray">
              <a:xfrm>
                <a:off x="1874" y="2831"/>
                <a:ext cx="59" cy="63"/>
              </a:xfrm>
              <a:custGeom>
                <a:avLst/>
                <a:gdLst/>
                <a:ahLst/>
                <a:cxnLst>
                  <a:cxn ang="0">
                    <a:pos x="2" y="252"/>
                  </a:cxn>
                  <a:cxn ang="0">
                    <a:pos x="26" y="272"/>
                  </a:cxn>
                  <a:cxn ang="0">
                    <a:pos x="56" y="283"/>
                  </a:cxn>
                  <a:cxn ang="0">
                    <a:pos x="91" y="297"/>
                  </a:cxn>
                  <a:cxn ang="0">
                    <a:pos x="115" y="304"/>
                  </a:cxn>
                  <a:cxn ang="0">
                    <a:pos x="129" y="310"/>
                  </a:cxn>
                  <a:cxn ang="0">
                    <a:pos x="162" y="307"/>
                  </a:cxn>
                  <a:cxn ang="0">
                    <a:pos x="197" y="314"/>
                  </a:cxn>
                  <a:cxn ang="0">
                    <a:pos x="225" y="303"/>
                  </a:cxn>
                  <a:cxn ang="0">
                    <a:pos x="246" y="283"/>
                  </a:cxn>
                  <a:cxn ang="0">
                    <a:pos x="253" y="272"/>
                  </a:cxn>
                  <a:cxn ang="0">
                    <a:pos x="268" y="253"/>
                  </a:cxn>
                  <a:cxn ang="0">
                    <a:pos x="276" y="236"/>
                  </a:cxn>
                  <a:cxn ang="0">
                    <a:pos x="271" y="229"/>
                  </a:cxn>
                  <a:cxn ang="0">
                    <a:pos x="274" y="199"/>
                  </a:cxn>
                  <a:cxn ang="0">
                    <a:pos x="281" y="184"/>
                  </a:cxn>
                  <a:cxn ang="0">
                    <a:pos x="286" y="175"/>
                  </a:cxn>
                  <a:cxn ang="0">
                    <a:pos x="292" y="172"/>
                  </a:cxn>
                  <a:cxn ang="0">
                    <a:pos x="267" y="148"/>
                  </a:cxn>
                  <a:cxn ang="0">
                    <a:pos x="260" y="126"/>
                  </a:cxn>
                  <a:cxn ang="0">
                    <a:pos x="242" y="113"/>
                  </a:cxn>
                  <a:cxn ang="0">
                    <a:pos x="228" y="108"/>
                  </a:cxn>
                  <a:cxn ang="0">
                    <a:pos x="215" y="91"/>
                  </a:cxn>
                  <a:cxn ang="0">
                    <a:pos x="200" y="86"/>
                  </a:cxn>
                  <a:cxn ang="0">
                    <a:pos x="185" y="77"/>
                  </a:cxn>
                  <a:cxn ang="0">
                    <a:pos x="178" y="73"/>
                  </a:cxn>
                  <a:cxn ang="0">
                    <a:pos x="166" y="55"/>
                  </a:cxn>
                  <a:cxn ang="0">
                    <a:pos x="160" y="48"/>
                  </a:cxn>
                  <a:cxn ang="0">
                    <a:pos x="142" y="60"/>
                  </a:cxn>
                  <a:cxn ang="0">
                    <a:pos x="133" y="50"/>
                  </a:cxn>
                  <a:cxn ang="0">
                    <a:pos x="119" y="27"/>
                  </a:cxn>
                  <a:cxn ang="0">
                    <a:pos x="103" y="12"/>
                  </a:cxn>
                  <a:cxn ang="0">
                    <a:pos x="85" y="0"/>
                  </a:cxn>
                  <a:cxn ang="0">
                    <a:pos x="75" y="2"/>
                  </a:cxn>
                  <a:cxn ang="0">
                    <a:pos x="64" y="12"/>
                  </a:cxn>
                  <a:cxn ang="0">
                    <a:pos x="44" y="16"/>
                  </a:cxn>
                  <a:cxn ang="0">
                    <a:pos x="33" y="27"/>
                  </a:cxn>
                  <a:cxn ang="0">
                    <a:pos x="31" y="72"/>
                  </a:cxn>
                  <a:cxn ang="0">
                    <a:pos x="29" y="97"/>
                  </a:cxn>
                  <a:cxn ang="0">
                    <a:pos x="20" y="172"/>
                  </a:cxn>
                  <a:cxn ang="0">
                    <a:pos x="16" y="188"/>
                  </a:cxn>
                  <a:cxn ang="0">
                    <a:pos x="5" y="210"/>
                  </a:cxn>
                  <a:cxn ang="0">
                    <a:pos x="0" y="252"/>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31" name="Freeform 253"/>
              <p:cNvSpPr>
                <a:spLocks noChangeAspect="1"/>
              </p:cNvSpPr>
              <p:nvPr/>
            </p:nvSpPr>
            <p:spPr bwMode="gray">
              <a:xfrm>
                <a:off x="1844" y="2396"/>
                <a:ext cx="53" cy="77"/>
              </a:xfrm>
              <a:custGeom>
                <a:avLst/>
                <a:gdLst/>
                <a:ahLst/>
                <a:cxnLst>
                  <a:cxn ang="0">
                    <a:pos x="89" y="0"/>
                  </a:cxn>
                  <a:cxn ang="0">
                    <a:pos x="141" y="41"/>
                  </a:cxn>
                  <a:cxn ang="0">
                    <a:pos x="152" y="83"/>
                  </a:cxn>
                  <a:cxn ang="0">
                    <a:pos x="172" y="84"/>
                  </a:cxn>
                  <a:cxn ang="0">
                    <a:pos x="195" y="94"/>
                  </a:cxn>
                  <a:cxn ang="0">
                    <a:pos x="211" y="112"/>
                  </a:cxn>
                  <a:cxn ang="0">
                    <a:pos x="232" y="139"/>
                  </a:cxn>
                  <a:cxn ang="0">
                    <a:pos x="217" y="159"/>
                  </a:cxn>
                  <a:cxn ang="0">
                    <a:pos x="220" y="165"/>
                  </a:cxn>
                  <a:cxn ang="0">
                    <a:pos x="212" y="182"/>
                  </a:cxn>
                  <a:cxn ang="0">
                    <a:pos x="189" y="186"/>
                  </a:cxn>
                  <a:cxn ang="0">
                    <a:pos x="183" y="193"/>
                  </a:cxn>
                  <a:cxn ang="0">
                    <a:pos x="174" y="228"/>
                  </a:cxn>
                  <a:cxn ang="0">
                    <a:pos x="189" y="255"/>
                  </a:cxn>
                  <a:cxn ang="0">
                    <a:pos x="200" y="268"/>
                  </a:cxn>
                  <a:cxn ang="0">
                    <a:pos x="217" y="273"/>
                  </a:cxn>
                  <a:cxn ang="0">
                    <a:pos x="226" y="289"/>
                  </a:cxn>
                  <a:cxn ang="0">
                    <a:pos x="233" y="311"/>
                  </a:cxn>
                  <a:cxn ang="0">
                    <a:pos x="263" y="347"/>
                  </a:cxn>
                  <a:cxn ang="0">
                    <a:pos x="254" y="350"/>
                  </a:cxn>
                  <a:cxn ang="0">
                    <a:pos x="233" y="348"/>
                  </a:cxn>
                  <a:cxn ang="0">
                    <a:pos x="213" y="353"/>
                  </a:cxn>
                  <a:cxn ang="0">
                    <a:pos x="183" y="366"/>
                  </a:cxn>
                  <a:cxn ang="0">
                    <a:pos x="158" y="374"/>
                  </a:cxn>
                  <a:cxn ang="0">
                    <a:pos x="134" y="386"/>
                  </a:cxn>
                  <a:cxn ang="0">
                    <a:pos x="102" y="369"/>
                  </a:cxn>
                  <a:cxn ang="0">
                    <a:pos x="91" y="357"/>
                  </a:cxn>
                  <a:cxn ang="0">
                    <a:pos x="89" y="332"/>
                  </a:cxn>
                  <a:cxn ang="0">
                    <a:pos x="77" y="288"/>
                  </a:cxn>
                  <a:cxn ang="0">
                    <a:pos x="86" y="257"/>
                  </a:cxn>
                  <a:cxn ang="0">
                    <a:pos x="95" y="234"/>
                  </a:cxn>
                  <a:cxn ang="0">
                    <a:pos x="79" y="209"/>
                  </a:cxn>
                  <a:cxn ang="0">
                    <a:pos x="72" y="193"/>
                  </a:cxn>
                  <a:cxn ang="0">
                    <a:pos x="67" y="171"/>
                  </a:cxn>
                  <a:cxn ang="0">
                    <a:pos x="37" y="174"/>
                  </a:cxn>
                  <a:cxn ang="0">
                    <a:pos x="27" y="163"/>
                  </a:cxn>
                  <a:cxn ang="0">
                    <a:pos x="0" y="128"/>
                  </a:cxn>
                  <a:cxn ang="0">
                    <a:pos x="1" y="121"/>
                  </a:cxn>
                  <a:cxn ang="0">
                    <a:pos x="11" y="91"/>
                  </a:cxn>
                  <a:cxn ang="0">
                    <a:pos x="40" y="75"/>
                  </a:cxn>
                  <a:cxn ang="0">
                    <a:pos x="38" y="64"/>
                  </a:cxn>
                  <a:cxn ang="0">
                    <a:pos x="24" y="52"/>
                  </a:cxn>
                  <a:cxn ang="0">
                    <a:pos x="29" y="35"/>
                  </a:cxn>
                  <a:cxn ang="0">
                    <a:pos x="46" y="26"/>
                  </a:cxn>
                  <a:cxn ang="0">
                    <a:pos x="72" y="13"/>
                  </a:cxn>
                  <a:cxn ang="0">
                    <a:pos x="81" y="2"/>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32" name="Freeform 254"/>
              <p:cNvSpPr>
                <a:spLocks noChangeAspect="1"/>
              </p:cNvSpPr>
              <p:nvPr/>
            </p:nvSpPr>
            <p:spPr bwMode="gray">
              <a:xfrm>
                <a:off x="1919" y="2425"/>
                <a:ext cx="32" cy="40"/>
              </a:xfrm>
              <a:custGeom>
                <a:avLst/>
                <a:gdLst/>
                <a:ahLst/>
                <a:cxnLst>
                  <a:cxn ang="0">
                    <a:pos x="0" y="182"/>
                  </a:cxn>
                  <a:cxn ang="0">
                    <a:pos x="13" y="169"/>
                  </a:cxn>
                  <a:cxn ang="0">
                    <a:pos x="15" y="166"/>
                  </a:cxn>
                  <a:cxn ang="0">
                    <a:pos x="17" y="147"/>
                  </a:cxn>
                  <a:cxn ang="0">
                    <a:pos x="22" y="125"/>
                  </a:cxn>
                  <a:cxn ang="0">
                    <a:pos x="23" y="110"/>
                  </a:cxn>
                  <a:cxn ang="0">
                    <a:pos x="18" y="102"/>
                  </a:cxn>
                  <a:cxn ang="0">
                    <a:pos x="17" y="101"/>
                  </a:cxn>
                  <a:cxn ang="0">
                    <a:pos x="17" y="99"/>
                  </a:cxn>
                  <a:cxn ang="0">
                    <a:pos x="8" y="86"/>
                  </a:cxn>
                  <a:cxn ang="0">
                    <a:pos x="5" y="75"/>
                  </a:cxn>
                  <a:cxn ang="0">
                    <a:pos x="3" y="56"/>
                  </a:cxn>
                  <a:cxn ang="0">
                    <a:pos x="3" y="34"/>
                  </a:cxn>
                  <a:cxn ang="0">
                    <a:pos x="7" y="24"/>
                  </a:cxn>
                  <a:cxn ang="0">
                    <a:pos x="15" y="18"/>
                  </a:cxn>
                  <a:cxn ang="0">
                    <a:pos x="19" y="12"/>
                  </a:cxn>
                  <a:cxn ang="0">
                    <a:pos x="19" y="10"/>
                  </a:cxn>
                  <a:cxn ang="0">
                    <a:pos x="22" y="7"/>
                  </a:cxn>
                  <a:cxn ang="0">
                    <a:pos x="28" y="5"/>
                  </a:cxn>
                  <a:cxn ang="0">
                    <a:pos x="32" y="1"/>
                  </a:cxn>
                  <a:cxn ang="0">
                    <a:pos x="35" y="0"/>
                  </a:cxn>
                  <a:cxn ang="0">
                    <a:pos x="49" y="8"/>
                  </a:cxn>
                  <a:cxn ang="0">
                    <a:pos x="61" y="13"/>
                  </a:cxn>
                  <a:cxn ang="0">
                    <a:pos x="73" y="19"/>
                  </a:cxn>
                  <a:cxn ang="0">
                    <a:pos x="85" y="21"/>
                  </a:cxn>
                  <a:cxn ang="0">
                    <a:pos x="98" y="28"/>
                  </a:cxn>
                  <a:cxn ang="0">
                    <a:pos x="113" y="39"/>
                  </a:cxn>
                  <a:cxn ang="0">
                    <a:pos x="116" y="40"/>
                  </a:cxn>
                  <a:cxn ang="0">
                    <a:pos x="130" y="53"/>
                  </a:cxn>
                  <a:cxn ang="0">
                    <a:pos x="135" y="59"/>
                  </a:cxn>
                  <a:cxn ang="0">
                    <a:pos x="146" y="65"/>
                  </a:cxn>
                  <a:cxn ang="0">
                    <a:pos x="156" y="75"/>
                  </a:cxn>
                  <a:cxn ang="0">
                    <a:pos x="156" y="86"/>
                  </a:cxn>
                  <a:cxn ang="0">
                    <a:pos x="157" y="86"/>
                  </a:cxn>
                  <a:cxn ang="0">
                    <a:pos x="144" y="99"/>
                  </a:cxn>
                  <a:cxn ang="0">
                    <a:pos x="141" y="107"/>
                  </a:cxn>
                  <a:cxn ang="0">
                    <a:pos x="128" y="125"/>
                  </a:cxn>
                  <a:cxn ang="0">
                    <a:pos x="118" y="137"/>
                  </a:cxn>
                  <a:cxn ang="0">
                    <a:pos x="114" y="144"/>
                  </a:cxn>
                  <a:cxn ang="0">
                    <a:pos x="105" y="166"/>
                  </a:cxn>
                  <a:cxn ang="0">
                    <a:pos x="78" y="190"/>
                  </a:cxn>
                  <a:cxn ang="0">
                    <a:pos x="76" y="193"/>
                  </a:cxn>
                  <a:cxn ang="0">
                    <a:pos x="71" y="195"/>
                  </a:cxn>
                  <a:cxn ang="0">
                    <a:pos x="61" y="195"/>
                  </a:cxn>
                  <a:cxn ang="0">
                    <a:pos x="54" y="191"/>
                  </a:cxn>
                  <a:cxn ang="0">
                    <a:pos x="48" y="191"/>
                  </a:cxn>
                  <a:cxn ang="0">
                    <a:pos x="44" y="193"/>
                  </a:cxn>
                  <a:cxn ang="0">
                    <a:pos x="28" y="200"/>
                  </a:cxn>
                  <a:cxn ang="0">
                    <a:pos x="22" y="200"/>
                  </a:cxn>
                  <a:cxn ang="0">
                    <a:pos x="19" y="199"/>
                  </a:cxn>
                  <a:cxn ang="0">
                    <a:pos x="10" y="193"/>
                  </a:cxn>
                  <a:cxn ang="0">
                    <a:pos x="0" y="182"/>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33" name="Freeform 255"/>
              <p:cNvSpPr>
                <a:spLocks noChangeAspect="1"/>
              </p:cNvSpPr>
              <p:nvPr/>
            </p:nvSpPr>
            <p:spPr bwMode="gray">
              <a:xfrm>
                <a:off x="1624" y="2488"/>
                <a:ext cx="137" cy="201"/>
              </a:xfrm>
              <a:custGeom>
                <a:avLst/>
                <a:gdLst/>
                <a:ahLst/>
                <a:cxnLst>
                  <a:cxn ang="0">
                    <a:pos x="319" y="13"/>
                  </a:cxn>
                  <a:cxn ang="0">
                    <a:pos x="335" y="50"/>
                  </a:cxn>
                  <a:cxn ang="0">
                    <a:pos x="284" y="110"/>
                  </a:cxn>
                  <a:cxn ang="0">
                    <a:pos x="204" y="156"/>
                  </a:cxn>
                  <a:cxn ang="0">
                    <a:pos x="170" y="190"/>
                  </a:cxn>
                  <a:cxn ang="0">
                    <a:pos x="159" y="190"/>
                  </a:cxn>
                  <a:cxn ang="0">
                    <a:pos x="138" y="253"/>
                  </a:cxn>
                  <a:cxn ang="0">
                    <a:pos x="97" y="260"/>
                  </a:cxn>
                  <a:cxn ang="0">
                    <a:pos x="72" y="242"/>
                  </a:cxn>
                  <a:cxn ang="0">
                    <a:pos x="43" y="242"/>
                  </a:cxn>
                  <a:cxn ang="0">
                    <a:pos x="52" y="214"/>
                  </a:cxn>
                  <a:cxn ang="0">
                    <a:pos x="51" y="188"/>
                  </a:cxn>
                  <a:cxn ang="0">
                    <a:pos x="3" y="231"/>
                  </a:cxn>
                  <a:cxn ang="0">
                    <a:pos x="9" y="271"/>
                  </a:cxn>
                  <a:cxn ang="0">
                    <a:pos x="21" y="308"/>
                  </a:cxn>
                  <a:cxn ang="0">
                    <a:pos x="51" y="350"/>
                  </a:cxn>
                  <a:cxn ang="0">
                    <a:pos x="89" y="387"/>
                  </a:cxn>
                  <a:cxn ang="0">
                    <a:pos x="140" y="478"/>
                  </a:cxn>
                  <a:cxn ang="0">
                    <a:pos x="188" y="578"/>
                  </a:cxn>
                  <a:cxn ang="0">
                    <a:pos x="212" y="632"/>
                  </a:cxn>
                  <a:cxn ang="0">
                    <a:pos x="256" y="711"/>
                  </a:cxn>
                  <a:cxn ang="0">
                    <a:pos x="267" y="764"/>
                  </a:cxn>
                  <a:cxn ang="0">
                    <a:pos x="298" y="807"/>
                  </a:cxn>
                  <a:cxn ang="0">
                    <a:pos x="391" y="874"/>
                  </a:cxn>
                  <a:cxn ang="0">
                    <a:pos x="481" y="922"/>
                  </a:cxn>
                  <a:cxn ang="0">
                    <a:pos x="532" y="957"/>
                  </a:cxn>
                  <a:cxn ang="0">
                    <a:pos x="584" y="1001"/>
                  </a:cxn>
                  <a:cxn ang="0">
                    <a:pos x="620" y="995"/>
                  </a:cxn>
                  <a:cxn ang="0">
                    <a:pos x="638" y="968"/>
                  </a:cxn>
                  <a:cxn ang="0">
                    <a:pos x="649" y="935"/>
                  </a:cxn>
                  <a:cxn ang="0">
                    <a:pos x="665" y="888"/>
                  </a:cxn>
                  <a:cxn ang="0">
                    <a:pos x="651" y="865"/>
                  </a:cxn>
                  <a:cxn ang="0">
                    <a:pos x="665" y="826"/>
                  </a:cxn>
                  <a:cxn ang="0">
                    <a:pos x="671" y="793"/>
                  </a:cxn>
                  <a:cxn ang="0">
                    <a:pos x="671" y="724"/>
                  </a:cxn>
                  <a:cxn ang="0">
                    <a:pos x="686" y="675"/>
                  </a:cxn>
                  <a:cxn ang="0">
                    <a:pos x="612" y="598"/>
                  </a:cxn>
                  <a:cxn ang="0">
                    <a:pos x="591" y="564"/>
                  </a:cxn>
                  <a:cxn ang="0">
                    <a:pos x="578" y="514"/>
                  </a:cxn>
                  <a:cxn ang="0">
                    <a:pos x="502" y="537"/>
                  </a:cxn>
                  <a:cxn ang="0">
                    <a:pos x="468" y="512"/>
                  </a:cxn>
                  <a:cxn ang="0">
                    <a:pos x="450" y="480"/>
                  </a:cxn>
                  <a:cxn ang="0">
                    <a:pos x="422" y="432"/>
                  </a:cxn>
                  <a:cxn ang="0">
                    <a:pos x="428" y="362"/>
                  </a:cxn>
                  <a:cxn ang="0">
                    <a:pos x="452" y="318"/>
                  </a:cxn>
                  <a:cxn ang="0">
                    <a:pos x="510" y="254"/>
                  </a:cxn>
                  <a:cxn ang="0">
                    <a:pos x="620" y="225"/>
                  </a:cxn>
                  <a:cxn ang="0">
                    <a:pos x="596" y="205"/>
                  </a:cxn>
                  <a:cxn ang="0">
                    <a:pos x="593" y="182"/>
                  </a:cxn>
                  <a:cxn ang="0">
                    <a:pos x="605" y="137"/>
                  </a:cxn>
                  <a:cxn ang="0">
                    <a:pos x="553" y="126"/>
                  </a:cxn>
                  <a:cxn ang="0">
                    <a:pos x="516" y="120"/>
                  </a:cxn>
                  <a:cxn ang="0">
                    <a:pos x="499" y="132"/>
                  </a:cxn>
                  <a:cxn ang="0">
                    <a:pos x="461" y="130"/>
                  </a:cxn>
                  <a:cxn ang="0">
                    <a:pos x="438" y="96"/>
                  </a:cxn>
                  <a:cxn ang="0">
                    <a:pos x="419" y="69"/>
                  </a:cxn>
                  <a:cxn ang="0">
                    <a:pos x="394" y="55"/>
                  </a:cxn>
                  <a:cxn ang="0">
                    <a:pos x="366" y="21"/>
                  </a:cxn>
                  <a:cxn ang="0">
                    <a:pos x="332" y="0"/>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35" name="Freeform 257"/>
              <p:cNvSpPr>
                <a:spLocks noChangeAspect="1"/>
              </p:cNvSpPr>
              <p:nvPr/>
            </p:nvSpPr>
            <p:spPr bwMode="gray">
              <a:xfrm>
                <a:off x="1763" y="3165"/>
                <a:ext cx="38" cy="45"/>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36" name="Freeform 258"/>
              <p:cNvSpPr>
                <a:spLocks noChangeAspect="1"/>
              </p:cNvSpPr>
              <p:nvPr/>
            </p:nvSpPr>
            <p:spPr bwMode="gray">
              <a:xfrm>
                <a:off x="1879" y="2422"/>
                <a:ext cx="45" cy="45"/>
              </a:xfrm>
              <a:custGeom>
                <a:avLst/>
                <a:gdLst/>
                <a:ahLst/>
                <a:cxnLst>
                  <a:cxn ang="0">
                    <a:pos x="197" y="195"/>
                  </a:cxn>
                  <a:cxn ang="0">
                    <a:pos x="172" y="187"/>
                  </a:cxn>
                  <a:cxn ang="0">
                    <a:pos x="146" y="193"/>
                  </a:cxn>
                  <a:cxn ang="0">
                    <a:pos x="129" y="190"/>
                  </a:cxn>
                  <a:cxn ang="0">
                    <a:pos x="124" y="217"/>
                  </a:cxn>
                  <a:cxn ang="0">
                    <a:pos x="103" y="221"/>
                  </a:cxn>
                  <a:cxn ang="0">
                    <a:pos x="91" y="214"/>
                  </a:cxn>
                  <a:cxn ang="0">
                    <a:pos x="79" y="205"/>
                  </a:cxn>
                  <a:cxn ang="0">
                    <a:pos x="59" y="178"/>
                  </a:cxn>
                  <a:cxn ang="0">
                    <a:pos x="52" y="166"/>
                  </a:cxn>
                  <a:cxn ang="0">
                    <a:pos x="47" y="151"/>
                  </a:cxn>
                  <a:cxn ang="0">
                    <a:pos x="43" y="140"/>
                  </a:cxn>
                  <a:cxn ang="0">
                    <a:pos x="30" y="139"/>
                  </a:cxn>
                  <a:cxn ang="0">
                    <a:pos x="26" y="130"/>
                  </a:cxn>
                  <a:cxn ang="0">
                    <a:pos x="15" y="122"/>
                  </a:cxn>
                  <a:cxn ang="0">
                    <a:pos x="0" y="101"/>
                  </a:cxn>
                  <a:cxn ang="0">
                    <a:pos x="4" y="84"/>
                  </a:cxn>
                  <a:cxn ang="0">
                    <a:pos x="9" y="60"/>
                  </a:cxn>
                  <a:cxn ang="0">
                    <a:pos x="11" y="55"/>
                  </a:cxn>
                  <a:cxn ang="0">
                    <a:pos x="22" y="50"/>
                  </a:cxn>
                  <a:cxn ang="0">
                    <a:pos x="38" y="49"/>
                  </a:cxn>
                  <a:cxn ang="0">
                    <a:pos x="46" y="39"/>
                  </a:cxn>
                  <a:cxn ang="0">
                    <a:pos x="44" y="32"/>
                  </a:cxn>
                  <a:cxn ang="0">
                    <a:pos x="43" y="26"/>
                  </a:cxn>
                  <a:cxn ang="0">
                    <a:pos x="57" y="9"/>
                  </a:cxn>
                  <a:cxn ang="0">
                    <a:pos x="62" y="5"/>
                  </a:cxn>
                  <a:cxn ang="0">
                    <a:pos x="71" y="0"/>
                  </a:cxn>
                  <a:cxn ang="0">
                    <a:pos x="114" y="6"/>
                  </a:cxn>
                  <a:cxn ang="0">
                    <a:pos x="154" y="3"/>
                  </a:cxn>
                  <a:cxn ang="0">
                    <a:pos x="168" y="0"/>
                  </a:cxn>
                  <a:cxn ang="0">
                    <a:pos x="200" y="3"/>
                  </a:cxn>
                  <a:cxn ang="0">
                    <a:pos x="225" y="11"/>
                  </a:cxn>
                  <a:cxn ang="0">
                    <a:pos x="222" y="25"/>
                  </a:cxn>
                  <a:cxn ang="0">
                    <a:pos x="218" y="33"/>
                  </a:cxn>
                  <a:cxn ang="0">
                    <a:pos x="206" y="49"/>
                  </a:cxn>
                  <a:cxn ang="0">
                    <a:pos x="208" y="90"/>
                  </a:cxn>
                  <a:cxn ang="0">
                    <a:pos x="220" y="114"/>
                  </a:cxn>
                  <a:cxn ang="0">
                    <a:pos x="221" y="117"/>
                  </a:cxn>
                  <a:cxn ang="0">
                    <a:pos x="225" y="140"/>
                  </a:cxn>
                  <a:cxn ang="0">
                    <a:pos x="218" y="181"/>
                  </a:cxn>
                  <a:cxn ang="0">
                    <a:pos x="203" y="197"/>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37" name="Freeform 259"/>
              <p:cNvSpPr>
                <a:spLocks noChangeAspect="1"/>
              </p:cNvSpPr>
              <p:nvPr/>
            </p:nvSpPr>
            <p:spPr bwMode="gray">
              <a:xfrm rot="-1047951">
                <a:off x="1790" y="2357"/>
                <a:ext cx="4" cy="4"/>
              </a:xfrm>
              <a:custGeom>
                <a:avLst/>
                <a:gdLst/>
                <a:ahLst/>
                <a:cxnLst>
                  <a:cxn ang="0">
                    <a:pos x="148" y="0"/>
                  </a:cxn>
                  <a:cxn ang="0">
                    <a:pos x="169" y="17"/>
                  </a:cxn>
                  <a:cxn ang="0">
                    <a:pos x="183" y="54"/>
                  </a:cxn>
                  <a:cxn ang="0">
                    <a:pos x="114" y="93"/>
                  </a:cxn>
                  <a:cxn ang="0">
                    <a:pos x="86" y="86"/>
                  </a:cxn>
                  <a:cxn ang="0">
                    <a:pos x="66" y="72"/>
                  </a:cxn>
                  <a:cxn ang="0">
                    <a:pos x="14" y="72"/>
                  </a:cxn>
                  <a:cxn ang="0">
                    <a:pos x="0" y="41"/>
                  </a:cxn>
                  <a:cxn ang="0">
                    <a:pos x="24" y="24"/>
                  </a:cxn>
                  <a:cxn ang="0">
                    <a:pos x="54" y="24"/>
                  </a:cxn>
                  <a:cxn ang="0">
                    <a:pos x="83" y="44"/>
                  </a:cxn>
                  <a:cxn ang="0">
                    <a:pos x="148" y="0"/>
                  </a:cxn>
                </a:cxnLst>
                <a:rect l="0" t="0" r="r" b="b"/>
                <a:pathLst>
                  <a:path w="183" h="93">
                    <a:moveTo>
                      <a:pt x="148" y="0"/>
                    </a:moveTo>
                    <a:lnTo>
                      <a:pt x="169" y="17"/>
                    </a:lnTo>
                    <a:lnTo>
                      <a:pt x="183" y="54"/>
                    </a:lnTo>
                    <a:lnTo>
                      <a:pt x="114" y="93"/>
                    </a:lnTo>
                    <a:lnTo>
                      <a:pt x="86" y="86"/>
                    </a:lnTo>
                    <a:lnTo>
                      <a:pt x="66" y="72"/>
                    </a:lnTo>
                    <a:lnTo>
                      <a:pt x="14" y="72"/>
                    </a:lnTo>
                    <a:lnTo>
                      <a:pt x="0" y="41"/>
                    </a:lnTo>
                    <a:lnTo>
                      <a:pt x="24" y="24"/>
                    </a:lnTo>
                    <a:lnTo>
                      <a:pt x="54" y="24"/>
                    </a:lnTo>
                    <a:lnTo>
                      <a:pt x="83" y="44"/>
                    </a:lnTo>
                    <a:lnTo>
                      <a:pt x="148"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38" name="Freeform 260"/>
              <p:cNvSpPr>
                <a:spLocks noChangeAspect="1"/>
              </p:cNvSpPr>
              <p:nvPr/>
            </p:nvSpPr>
            <p:spPr bwMode="gray">
              <a:xfrm rot="-1047951">
                <a:off x="1753" y="2352"/>
                <a:ext cx="3" cy="4"/>
              </a:xfrm>
              <a:custGeom>
                <a:avLst/>
                <a:gdLst/>
                <a:ahLst/>
                <a:cxnLst>
                  <a:cxn ang="0">
                    <a:pos x="24" y="37"/>
                  </a:cxn>
                  <a:cxn ang="0">
                    <a:pos x="0" y="0"/>
                  </a:cxn>
                  <a:cxn ang="0">
                    <a:pos x="0" y="10"/>
                  </a:cxn>
                  <a:cxn ang="0">
                    <a:pos x="5" y="41"/>
                  </a:cxn>
                  <a:cxn ang="0">
                    <a:pos x="24" y="72"/>
                  </a:cxn>
                  <a:cxn ang="0">
                    <a:pos x="101" y="102"/>
                  </a:cxn>
                  <a:cxn ang="0">
                    <a:pos x="101" y="85"/>
                  </a:cxn>
                  <a:cxn ang="0">
                    <a:pos x="59" y="68"/>
                  </a:cxn>
                  <a:cxn ang="0">
                    <a:pos x="24" y="37"/>
                  </a:cxn>
                </a:cxnLst>
                <a:rect l="0" t="0" r="r" b="b"/>
                <a:pathLst>
                  <a:path w="101" h="102">
                    <a:moveTo>
                      <a:pt x="24" y="37"/>
                    </a:moveTo>
                    <a:lnTo>
                      <a:pt x="0" y="0"/>
                    </a:lnTo>
                    <a:lnTo>
                      <a:pt x="0" y="10"/>
                    </a:lnTo>
                    <a:lnTo>
                      <a:pt x="5" y="41"/>
                    </a:lnTo>
                    <a:lnTo>
                      <a:pt x="24" y="72"/>
                    </a:lnTo>
                    <a:lnTo>
                      <a:pt x="101" y="102"/>
                    </a:lnTo>
                    <a:lnTo>
                      <a:pt x="101" y="85"/>
                    </a:lnTo>
                    <a:lnTo>
                      <a:pt x="59" y="68"/>
                    </a:lnTo>
                    <a:lnTo>
                      <a:pt x="24" y="3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39" name="Freeform 261"/>
              <p:cNvSpPr>
                <a:spLocks noChangeAspect="1"/>
              </p:cNvSpPr>
              <p:nvPr/>
            </p:nvSpPr>
            <p:spPr bwMode="gray">
              <a:xfrm rot="-1047951">
                <a:off x="1758" y="2351"/>
                <a:ext cx="2" cy="4"/>
              </a:xfrm>
              <a:custGeom>
                <a:avLst/>
                <a:gdLst/>
                <a:ahLst/>
                <a:cxnLst>
                  <a:cxn ang="0">
                    <a:pos x="20" y="17"/>
                  </a:cxn>
                  <a:cxn ang="0">
                    <a:pos x="0" y="0"/>
                  </a:cxn>
                  <a:cxn ang="0">
                    <a:pos x="13" y="26"/>
                  </a:cxn>
                  <a:cxn ang="0">
                    <a:pos x="38" y="51"/>
                  </a:cxn>
                  <a:cxn ang="0">
                    <a:pos x="52" y="82"/>
                  </a:cxn>
                  <a:cxn ang="0">
                    <a:pos x="62" y="85"/>
                  </a:cxn>
                  <a:cxn ang="0">
                    <a:pos x="69" y="38"/>
                  </a:cxn>
                  <a:cxn ang="0">
                    <a:pos x="52" y="23"/>
                  </a:cxn>
                  <a:cxn ang="0">
                    <a:pos x="20" y="17"/>
                  </a:cxn>
                </a:cxnLst>
                <a:rect l="0" t="0" r="r" b="b"/>
                <a:pathLst>
                  <a:path w="69" h="85">
                    <a:moveTo>
                      <a:pt x="20" y="17"/>
                    </a:moveTo>
                    <a:lnTo>
                      <a:pt x="0" y="0"/>
                    </a:lnTo>
                    <a:lnTo>
                      <a:pt x="13" y="26"/>
                    </a:lnTo>
                    <a:lnTo>
                      <a:pt x="38" y="51"/>
                    </a:lnTo>
                    <a:lnTo>
                      <a:pt x="52" y="82"/>
                    </a:lnTo>
                    <a:lnTo>
                      <a:pt x="62" y="85"/>
                    </a:lnTo>
                    <a:lnTo>
                      <a:pt x="69" y="38"/>
                    </a:lnTo>
                    <a:lnTo>
                      <a:pt x="52" y="23"/>
                    </a:lnTo>
                    <a:lnTo>
                      <a:pt x="20" y="1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831" name="Freeform 262"/>
            <p:cNvSpPr>
              <a:spLocks noChangeAspect="1"/>
            </p:cNvSpPr>
            <p:nvPr/>
          </p:nvSpPr>
          <p:spPr bwMode="gray">
            <a:xfrm>
              <a:off x="3234529" y="3429346"/>
              <a:ext cx="74613" cy="74613"/>
            </a:xfrm>
            <a:custGeom>
              <a:avLst/>
              <a:gdLst/>
              <a:ahLst/>
              <a:cxnLst>
                <a:cxn ang="0">
                  <a:pos x="223" y="0"/>
                </a:cxn>
                <a:cxn ang="0">
                  <a:pos x="206" y="11"/>
                </a:cxn>
                <a:cxn ang="0">
                  <a:pos x="187" y="16"/>
                </a:cxn>
                <a:cxn ang="0">
                  <a:pos x="163" y="21"/>
                </a:cxn>
                <a:cxn ang="0">
                  <a:pos x="156" y="14"/>
                </a:cxn>
                <a:cxn ang="0">
                  <a:pos x="149" y="16"/>
                </a:cxn>
                <a:cxn ang="0">
                  <a:pos x="143" y="18"/>
                </a:cxn>
                <a:cxn ang="0">
                  <a:pos x="136" y="38"/>
                </a:cxn>
                <a:cxn ang="0">
                  <a:pos x="123" y="43"/>
                </a:cxn>
                <a:cxn ang="0">
                  <a:pos x="117" y="50"/>
                </a:cxn>
                <a:cxn ang="0">
                  <a:pos x="110" y="58"/>
                </a:cxn>
                <a:cxn ang="0">
                  <a:pos x="101" y="61"/>
                </a:cxn>
                <a:cxn ang="0">
                  <a:pos x="93" y="63"/>
                </a:cxn>
                <a:cxn ang="0">
                  <a:pos x="78" y="54"/>
                </a:cxn>
                <a:cxn ang="0">
                  <a:pos x="68" y="72"/>
                </a:cxn>
                <a:cxn ang="0">
                  <a:pos x="46" y="72"/>
                </a:cxn>
                <a:cxn ang="0">
                  <a:pos x="43" y="95"/>
                </a:cxn>
                <a:cxn ang="0">
                  <a:pos x="35" y="101"/>
                </a:cxn>
                <a:cxn ang="0">
                  <a:pos x="29" y="111"/>
                </a:cxn>
                <a:cxn ang="0">
                  <a:pos x="2" y="112"/>
                </a:cxn>
                <a:cxn ang="0">
                  <a:pos x="2" y="120"/>
                </a:cxn>
                <a:cxn ang="0">
                  <a:pos x="20" y="141"/>
                </a:cxn>
                <a:cxn ang="0">
                  <a:pos x="57" y="181"/>
                </a:cxn>
                <a:cxn ang="0">
                  <a:pos x="70" y="194"/>
                </a:cxn>
                <a:cxn ang="0">
                  <a:pos x="95" y="211"/>
                </a:cxn>
                <a:cxn ang="0">
                  <a:pos x="98" y="221"/>
                </a:cxn>
                <a:cxn ang="0">
                  <a:pos x="105" y="215"/>
                </a:cxn>
                <a:cxn ang="0">
                  <a:pos x="120" y="220"/>
                </a:cxn>
                <a:cxn ang="0">
                  <a:pos x="152" y="226"/>
                </a:cxn>
                <a:cxn ang="0">
                  <a:pos x="165" y="224"/>
                </a:cxn>
                <a:cxn ang="0">
                  <a:pos x="182" y="235"/>
                </a:cxn>
                <a:cxn ang="0">
                  <a:pos x="197" y="236"/>
                </a:cxn>
                <a:cxn ang="0">
                  <a:pos x="214" y="231"/>
                </a:cxn>
                <a:cxn ang="0">
                  <a:pos x="212" y="224"/>
                </a:cxn>
                <a:cxn ang="0">
                  <a:pos x="204" y="200"/>
                </a:cxn>
                <a:cxn ang="0">
                  <a:pos x="212" y="181"/>
                </a:cxn>
                <a:cxn ang="0">
                  <a:pos x="219" y="117"/>
                </a:cxn>
                <a:cxn ang="0">
                  <a:pos x="231" y="43"/>
                </a:cxn>
                <a:cxn ang="0">
                  <a:pos x="234" y="0"/>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32" name="Freeform 263"/>
            <p:cNvSpPr>
              <a:spLocks noChangeAspect="1"/>
            </p:cNvSpPr>
            <p:nvPr/>
          </p:nvSpPr>
          <p:spPr bwMode="gray">
            <a:xfrm>
              <a:off x="3313905" y="3524596"/>
              <a:ext cx="101600" cy="42863"/>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33" name="Freeform 264"/>
            <p:cNvSpPr>
              <a:spLocks noChangeAspect="1"/>
            </p:cNvSpPr>
            <p:nvPr/>
          </p:nvSpPr>
          <p:spPr bwMode="gray">
            <a:xfrm>
              <a:off x="3153567" y="3378547"/>
              <a:ext cx="68263" cy="74613"/>
            </a:xfrm>
            <a:custGeom>
              <a:avLst/>
              <a:gdLst/>
              <a:ahLst/>
              <a:cxnLst>
                <a:cxn ang="0">
                  <a:pos x="71" y="1"/>
                </a:cxn>
                <a:cxn ang="0">
                  <a:pos x="39" y="28"/>
                </a:cxn>
                <a:cxn ang="0">
                  <a:pos x="63" y="52"/>
                </a:cxn>
                <a:cxn ang="0">
                  <a:pos x="82" y="71"/>
                </a:cxn>
                <a:cxn ang="0">
                  <a:pos x="95" y="84"/>
                </a:cxn>
                <a:cxn ang="0">
                  <a:pos x="93" y="100"/>
                </a:cxn>
                <a:cxn ang="0">
                  <a:pos x="69" y="99"/>
                </a:cxn>
                <a:cxn ang="0">
                  <a:pos x="16" y="138"/>
                </a:cxn>
                <a:cxn ang="0">
                  <a:pos x="9" y="152"/>
                </a:cxn>
                <a:cxn ang="0">
                  <a:pos x="5" y="158"/>
                </a:cxn>
                <a:cxn ang="0">
                  <a:pos x="6" y="168"/>
                </a:cxn>
                <a:cxn ang="0">
                  <a:pos x="2" y="186"/>
                </a:cxn>
                <a:cxn ang="0">
                  <a:pos x="2" y="191"/>
                </a:cxn>
                <a:cxn ang="0">
                  <a:pos x="9" y="196"/>
                </a:cxn>
                <a:cxn ang="0">
                  <a:pos x="17" y="204"/>
                </a:cxn>
                <a:cxn ang="0">
                  <a:pos x="37" y="217"/>
                </a:cxn>
                <a:cxn ang="0">
                  <a:pos x="55" y="226"/>
                </a:cxn>
                <a:cxn ang="0">
                  <a:pos x="86" y="227"/>
                </a:cxn>
                <a:cxn ang="0">
                  <a:pos x="112" y="232"/>
                </a:cxn>
                <a:cxn ang="0">
                  <a:pos x="119" y="232"/>
                </a:cxn>
                <a:cxn ang="0">
                  <a:pos x="134" y="220"/>
                </a:cxn>
                <a:cxn ang="0">
                  <a:pos x="145" y="211"/>
                </a:cxn>
                <a:cxn ang="0">
                  <a:pos x="149" y="199"/>
                </a:cxn>
                <a:cxn ang="0">
                  <a:pos x="155" y="194"/>
                </a:cxn>
                <a:cxn ang="0">
                  <a:pos x="165" y="184"/>
                </a:cxn>
                <a:cxn ang="0">
                  <a:pos x="163" y="175"/>
                </a:cxn>
                <a:cxn ang="0">
                  <a:pos x="162" y="169"/>
                </a:cxn>
                <a:cxn ang="0">
                  <a:pos x="172" y="159"/>
                </a:cxn>
                <a:cxn ang="0">
                  <a:pos x="177" y="157"/>
                </a:cxn>
                <a:cxn ang="0">
                  <a:pos x="208" y="134"/>
                </a:cxn>
                <a:cxn ang="0">
                  <a:pos x="212" y="124"/>
                </a:cxn>
                <a:cxn ang="0">
                  <a:pos x="211" y="121"/>
                </a:cxn>
                <a:cxn ang="0">
                  <a:pos x="209" y="118"/>
                </a:cxn>
                <a:cxn ang="0">
                  <a:pos x="195" y="121"/>
                </a:cxn>
                <a:cxn ang="0">
                  <a:pos x="187" y="116"/>
                </a:cxn>
                <a:cxn ang="0">
                  <a:pos x="184" y="111"/>
                </a:cxn>
                <a:cxn ang="0">
                  <a:pos x="163" y="108"/>
                </a:cxn>
                <a:cxn ang="0">
                  <a:pos x="166" y="72"/>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34" name="Freeform 265"/>
            <p:cNvSpPr>
              <a:spLocks noChangeAspect="1"/>
            </p:cNvSpPr>
            <p:nvPr/>
          </p:nvSpPr>
          <p:spPr bwMode="gray">
            <a:xfrm>
              <a:off x="3205954" y="3367434"/>
              <a:ext cx="19050" cy="46038"/>
            </a:xfrm>
            <a:custGeom>
              <a:avLst/>
              <a:gdLst/>
              <a:ahLst/>
              <a:cxnLst>
                <a:cxn ang="0">
                  <a:pos x="46" y="2"/>
                </a:cxn>
                <a:cxn ang="0">
                  <a:pos x="41" y="0"/>
                </a:cxn>
                <a:cxn ang="0">
                  <a:pos x="36" y="3"/>
                </a:cxn>
                <a:cxn ang="0">
                  <a:pos x="21" y="31"/>
                </a:cxn>
                <a:cxn ang="0">
                  <a:pos x="16" y="31"/>
                </a:cxn>
                <a:cxn ang="0">
                  <a:pos x="3" y="34"/>
                </a:cxn>
                <a:cxn ang="0">
                  <a:pos x="3" y="106"/>
                </a:cxn>
                <a:cxn ang="0">
                  <a:pos x="2" y="141"/>
                </a:cxn>
                <a:cxn ang="0">
                  <a:pos x="0" y="142"/>
                </a:cxn>
                <a:cxn ang="0">
                  <a:pos x="9" y="144"/>
                </a:cxn>
                <a:cxn ang="0">
                  <a:pos x="21" y="145"/>
                </a:cxn>
                <a:cxn ang="0">
                  <a:pos x="20" y="144"/>
                </a:cxn>
                <a:cxn ang="0">
                  <a:pos x="20" y="136"/>
                </a:cxn>
                <a:cxn ang="0">
                  <a:pos x="21" y="132"/>
                </a:cxn>
                <a:cxn ang="0">
                  <a:pos x="27" y="126"/>
                </a:cxn>
                <a:cxn ang="0">
                  <a:pos x="38" y="118"/>
                </a:cxn>
                <a:cxn ang="0">
                  <a:pos x="45" y="110"/>
                </a:cxn>
                <a:cxn ang="0">
                  <a:pos x="47" y="102"/>
                </a:cxn>
                <a:cxn ang="0">
                  <a:pos x="48" y="102"/>
                </a:cxn>
                <a:cxn ang="0">
                  <a:pos x="51" y="89"/>
                </a:cxn>
                <a:cxn ang="0">
                  <a:pos x="52" y="77"/>
                </a:cxn>
                <a:cxn ang="0">
                  <a:pos x="51" y="56"/>
                </a:cxn>
                <a:cxn ang="0">
                  <a:pos x="53" y="41"/>
                </a:cxn>
                <a:cxn ang="0">
                  <a:pos x="57" y="28"/>
                </a:cxn>
                <a:cxn ang="0">
                  <a:pos x="62" y="18"/>
                </a:cxn>
                <a:cxn ang="0">
                  <a:pos x="62" y="13"/>
                </a:cxn>
                <a:cxn ang="0">
                  <a:pos x="58" y="8"/>
                </a:cxn>
                <a:cxn ang="0">
                  <a:pos x="47" y="3"/>
                </a:cxn>
                <a:cxn ang="0">
                  <a:pos x="46" y="2"/>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35" name="Freeform 266"/>
            <p:cNvSpPr>
              <a:spLocks noChangeAspect="1"/>
            </p:cNvSpPr>
            <p:nvPr/>
          </p:nvSpPr>
          <p:spPr bwMode="gray">
            <a:xfrm>
              <a:off x="3191666" y="3440459"/>
              <a:ext cx="39688" cy="22225"/>
            </a:xfrm>
            <a:custGeom>
              <a:avLst/>
              <a:gdLst/>
              <a:ahLst/>
              <a:cxnLst>
                <a:cxn ang="0">
                  <a:pos x="33" y="0"/>
                </a:cxn>
                <a:cxn ang="0">
                  <a:pos x="31" y="4"/>
                </a:cxn>
                <a:cxn ang="0">
                  <a:pos x="28" y="11"/>
                </a:cxn>
                <a:cxn ang="0">
                  <a:pos x="26" y="16"/>
                </a:cxn>
                <a:cxn ang="0">
                  <a:pos x="19" y="18"/>
                </a:cxn>
                <a:cxn ang="0">
                  <a:pos x="15" y="25"/>
                </a:cxn>
                <a:cxn ang="0">
                  <a:pos x="6" y="27"/>
                </a:cxn>
                <a:cxn ang="0">
                  <a:pos x="0" y="37"/>
                </a:cxn>
                <a:cxn ang="0">
                  <a:pos x="0" y="40"/>
                </a:cxn>
                <a:cxn ang="0">
                  <a:pos x="9" y="48"/>
                </a:cxn>
                <a:cxn ang="0">
                  <a:pos x="21" y="53"/>
                </a:cxn>
                <a:cxn ang="0">
                  <a:pos x="36" y="55"/>
                </a:cxn>
                <a:cxn ang="0">
                  <a:pos x="46" y="56"/>
                </a:cxn>
                <a:cxn ang="0">
                  <a:pos x="58" y="65"/>
                </a:cxn>
                <a:cxn ang="0">
                  <a:pos x="76" y="70"/>
                </a:cxn>
                <a:cxn ang="0">
                  <a:pos x="103" y="71"/>
                </a:cxn>
                <a:cxn ang="0">
                  <a:pos x="120" y="64"/>
                </a:cxn>
                <a:cxn ang="0">
                  <a:pos x="125" y="59"/>
                </a:cxn>
                <a:cxn ang="0">
                  <a:pos x="123" y="56"/>
                </a:cxn>
                <a:cxn ang="0">
                  <a:pos x="123" y="38"/>
                </a:cxn>
                <a:cxn ang="0">
                  <a:pos x="123" y="37"/>
                </a:cxn>
                <a:cxn ang="0">
                  <a:pos x="118" y="32"/>
                </a:cxn>
                <a:cxn ang="0">
                  <a:pos x="109" y="29"/>
                </a:cxn>
                <a:cxn ang="0">
                  <a:pos x="107" y="27"/>
                </a:cxn>
                <a:cxn ang="0">
                  <a:pos x="100" y="28"/>
                </a:cxn>
                <a:cxn ang="0">
                  <a:pos x="95" y="33"/>
                </a:cxn>
                <a:cxn ang="0">
                  <a:pos x="90" y="33"/>
                </a:cxn>
                <a:cxn ang="0">
                  <a:pos x="85" y="31"/>
                </a:cxn>
                <a:cxn ang="0">
                  <a:pos x="82" y="28"/>
                </a:cxn>
                <a:cxn ang="0">
                  <a:pos x="82" y="26"/>
                </a:cxn>
                <a:cxn ang="0">
                  <a:pos x="75" y="26"/>
                </a:cxn>
                <a:cxn ang="0">
                  <a:pos x="73" y="23"/>
                </a:cxn>
                <a:cxn ang="0">
                  <a:pos x="71" y="20"/>
                </a:cxn>
                <a:cxn ang="0">
                  <a:pos x="66" y="20"/>
                </a:cxn>
                <a:cxn ang="0">
                  <a:pos x="59" y="15"/>
                </a:cxn>
                <a:cxn ang="0">
                  <a:pos x="57" y="10"/>
                </a:cxn>
                <a:cxn ang="0">
                  <a:pos x="52" y="4"/>
                </a:cxn>
                <a:cxn ang="0">
                  <a:pos x="39" y="4"/>
                </a:cxn>
                <a:cxn ang="0">
                  <a:pos x="33" y="0"/>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36" name="Freeform 267"/>
            <p:cNvSpPr>
              <a:spLocks noChangeAspect="1"/>
            </p:cNvSpPr>
            <p:nvPr/>
          </p:nvSpPr>
          <p:spPr bwMode="gray">
            <a:xfrm>
              <a:off x="3264691" y="3497608"/>
              <a:ext cx="57150" cy="50800"/>
            </a:xfrm>
            <a:custGeom>
              <a:avLst/>
              <a:gdLst/>
              <a:ahLst/>
              <a:cxnLst>
                <a:cxn ang="0">
                  <a:pos x="118" y="18"/>
                </a:cxn>
                <a:cxn ang="0">
                  <a:pos x="94" y="21"/>
                </a:cxn>
                <a:cxn ang="0">
                  <a:pos x="81" y="12"/>
                </a:cxn>
                <a:cxn ang="0">
                  <a:pos x="67" y="9"/>
                </a:cxn>
                <a:cxn ang="0">
                  <a:pos x="50" y="11"/>
                </a:cxn>
                <a:cxn ang="0">
                  <a:pos x="17" y="0"/>
                </a:cxn>
                <a:cxn ang="0">
                  <a:pos x="6" y="6"/>
                </a:cxn>
                <a:cxn ang="0">
                  <a:pos x="2" y="12"/>
                </a:cxn>
                <a:cxn ang="0">
                  <a:pos x="6" y="21"/>
                </a:cxn>
                <a:cxn ang="0">
                  <a:pos x="2" y="36"/>
                </a:cxn>
                <a:cxn ang="0">
                  <a:pos x="3" y="53"/>
                </a:cxn>
                <a:cxn ang="0">
                  <a:pos x="11" y="66"/>
                </a:cxn>
                <a:cxn ang="0">
                  <a:pos x="23" y="71"/>
                </a:cxn>
                <a:cxn ang="0">
                  <a:pos x="39" y="82"/>
                </a:cxn>
                <a:cxn ang="0">
                  <a:pos x="45" y="85"/>
                </a:cxn>
                <a:cxn ang="0">
                  <a:pos x="49" y="69"/>
                </a:cxn>
                <a:cxn ang="0">
                  <a:pos x="39" y="61"/>
                </a:cxn>
                <a:cxn ang="0">
                  <a:pos x="51" y="60"/>
                </a:cxn>
                <a:cxn ang="0">
                  <a:pos x="65" y="77"/>
                </a:cxn>
                <a:cxn ang="0">
                  <a:pos x="76" y="92"/>
                </a:cxn>
                <a:cxn ang="0">
                  <a:pos x="106" y="104"/>
                </a:cxn>
                <a:cxn ang="0">
                  <a:pos x="121" y="142"/>
                </a:cxn>
                <a:cxn ang="0">
                  <a:pos x="130" y="149"/>
                </a:cxn>
                <a:cxn ang="0">
                  <a:pos x="141" y="150"/>
                </a:cxn>
                <a:cxn ang="0">
                  <a:pos x="140" y="136"/>
                </a:cxn>
                <a:cxn ang="0">
                  <a:pos x="145" y="139"/>
                </a:cxn>
                <a:cxn ang="0">
                  <a:pos x="154" y="156"/>
                </a:cxn>
                <a:cxn ang="0">
                  <a:pos x="158" y="157"/>
                </a:cxn>
                <a:cxn ang="0">
                  <a:pos x="168" y="142"/>
                </a:cxn>
                <a:cxn ang="0">
                  <a:pos x="168" y="126"/>
                </a:cxn>
                <a:cxn ang="0">
                  <a:pos x="173" y="118"/>
                </a:cxn>
                <a:cxn ang="0">
                  <a:pos x="162" y="109"/>
                </a:cxn>
                <a:cxn ang="0">
                  <a:pos x="170" y="86"/>
                </a:cxn>
                <a:cxn ang="0">
                  <a:pos x="176" y="87"/>
                </a:cxn>
                <a:cxn ang="0">
                  <a:pos x="180" y="86"/>
                </a:cxn>
                <a:cxn ang="0">
                  <a:pos x="161" y="72"/>
                </a:cxn>
                <a:cxn ang="0">
                  <a:pos x="133" y="43"/>
                </a:cxn>
                <a:cxn ang="0">
                  <a:pos x="125" y="25"/>
                </a:cxn>
                <a:cxn ang="0">
                  <a:pos x="121" y="16"/>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37" name="Freeform 268"/>
            <p:cNvSpPr>
              <a:spLocks noChangeAspect="1"/>
            </p:cNvSpPr>
            <p:nvPr/>
          </p:nvSpPr>
          <p:spPr bwMode="gray">
            <a:xfrm>
              <a:off x="3202779" y="3411883"/>
              <a:ext cx="106363" cy="53975"/>
            </a:xfrm>
            <a:custGeom>
              <a:avLst/>
              <a:gdLst/>
              <a:ahLst/>
              <a:cxnLst>
                <a:cxn ang="0">
                  <a:pos x="326" y="54"/>
                </a:cxn>
                <a:cxn ang="0">
                  <a:pos x="309" y="65"/>
                </a:cxn>
                <a:cxn ang="0">
                  <a:pos x="290" y="70"/>
                </a:cxn>
                <a:cxn ang="0">
                  <a:pos x="266" y="75"/>
                </a:cxn>
                <a:cxn ang="0">
                  <a:pos x="259" y="68"/>
                </a:cxn>
                <a:cxn ang="0">
                  <a:pos x="252" y="70"/>
                </a:cxn>
                <a:cxn ang="0">
                  <a:pos x="246" y="72"/>
                </a:cxn>
                <a:cxn ang="0">
                  <a:pos x="239" y="92"/>
                </a:cxn>
                <a:cxn ang="0">
                  <a:pos x="226" y="97"/>
                </a:cxn>
                <a:cxn ang="0">
                  <a:pos x="220" y="104"/>
                </a:cxn>
                <a:cxn ang="0">
                  <a:pos x="213" y="112"/>
                </a:cxn>
                <a:cxn ang="0">
                  <a:pos x="205" y="115"/>
                </a:cxn>
                <a:cxn ang="0">
                  <a:pos x="196" y="117"/>
                </a:cxn>
                <a:cxn ang="0">
                  <a:pos x="181" y="108"/>
                </a:cxn>
                <a:cxn ang="0">
                  <a:pos x="171" y="126"/>
                </a:cxn>
                <a:cxn ang="0">
                  <a:pos x="149" y="126"/>
                </a:cxn>
                <a:cxn ang="0">
                  <a:pos x="148" y="149"/>
                </a:cxn>
                <a:cxn ang="0">
                  <a:pos x="139" y="155"/>
                </a:cxn>
                <a:cxn ang="0">
                  <a:pos x="132" y="165"/>
                </a:cxn>
                <a:cxn ang="0">
                  <a:pos x="115" y="163"/>
                </a:cxn>
                <a:cxn ang="0">
                  <a:pos x="107" y="152"/>
                </a:cxn>
                <a:cxn ang="0">
                  <a:pos x="99" y="144"/>
                </a:cxn>
                <a:cxn ang="0">
                  <a:pos x="90" y="142"/>
                </a:cxn>
                <a:cxn ang="0">
                  <a:pos x="90" y="123"/>
                </a:cxn>
                <a:cxn ang="0">
                  <a:pos x="76" y="115"/>
                </a:cxn>
                <a:cxn ang="0">
                  <a:pos x="67" y="114"/>
                </a:cxn>
                <a:cxn ang="0">
                  <a:pos x="57" y="119"/>
                </a:cxn>
                <a:cxn ang="0">
                  <a:pos x="49" y="114"/>
                </a:cxn>
                <a:cxn ang="0">
                  <a:pos x="42" y="112"/>
                </a:cxn>
                <a:cxn ang="0">
                  <a:pos x="38" y="106"/>
                </a:cxn>
                <a:cxn ang="0">
                  <a:pos x="26" y="101"/>
                </a:cxn>
                <a:cxn ang="0">
                  <a:pos x="19" y="90"/>
                </a:cxn>
                <a:cxn ang="0">
                  <a:pos x="0" y="86"/>
                </a:cxn>
                <a:cxn ang="0">
                  <a:pos x="5" y="80"/>
                </a:cxn>
                <a:cxn ang="0">
                  <a:pos x="13" y="71"/>
                </a:cxn>
                <a:cxn ang="0">
                  <a:pos x="10" y="65"/>
                </a:cxn>
                <a:cxn ang="0">
                  <a:pos x="11" y="56"/>
                </a:cxn>
                <a:cxn ang="0">
                  <a:pos x="21" y="49"/>
                </a:cxn>
                <a:cxn ang="0">
                  <a:pos x="38" y="37"/>
                </a:cxn>
                <a:cxn ang="0">
                  <a:pos x="59" y="18"/>
                </a:cxn>
                <a:cxn ang="0">
                  <a:pos x="74" y="13"/>
                </a:cxn>
                <a:cxn ang="0">
                  <a:pos x="92" y="7"/>
                </a:cxn>
                <a:cxn ang="0">
                  <a:pos x="124" y="11"/>
                </a:cxn>
                <a:cxn ang="0">
                  <a:pos x="166" y="7"/>
                </a:cxn>
                <a:cxn ang="0">
                  <a:pos x="183" y="5"/>
                </a:cxn>
                <a:cxn ang="0">
                  <a:pos x="199" y="0"/>
                </a:cxn>
                <a:cxn ang="0">
                  <a:pos x="209" y="5"/>
                </a:cxn>
                <a:cxn ang="0">
                  <a:pos x="231" y="1"/>
                </a:cxn>
                <a:cxn ang="0">
                  <a:pos x="245" y="2"/>
                </a:cxn>
                <a:cxn ang="0">
                  <a:pos x="271" y="9"/>
                </a:cxn>
                <a:cxn ang="0">
                  <a:pos x="293" y="16"/>
                </a:cxn>
                <a:cxn ang="0">
                  <a:pos x="327" y="38"/>
                </a:cxn>
                <a:cxn ang="0">
                  <a:pos x="337" y="52"/>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38" name="Freeform 269"/>
            <p:cNvSpPr>
              <a:spLocks noChangeAspect="1"/>
            </p:cNvSpPr>
            <p:nvPr/>
          </p:nvSpPr>
          <p:spPr bwMode="gray">
            <a:xfrm>
              <a:off x="2721766" y="3094384"/>
              <a:ext cx="525463" cy="342900"/>
            </a:xfrm>
            <a:custGeom>
              <a:avLst/>
              <a:gdLst/>
              <a:ahLst/>
              <a:cxnLst>
                <a:cxn ang="0">
                  <a:pos x="183" y="77"/>
                </a:cxn>
                <a:cxn ang="0">
                  <a:pos x="233" y="144"/>
                </a:cxn>
                <a:cxn ang="0">
                  <a:pos x="260" y="212"/>
                </a:cxn>
                <a:cxn ang="0">
                  <a:pos x="324" y="292"/>
                </a:cxn>
                <a:cxn ang="0">
                  <a:pos x="367" y="342"/>
                </a:cxn>
                <a:cxn ang="0">
                  <a:pos x="433" y="395"/>
                </a:cxn>
                <a:cxn ang="0">
                  <a:pos x="432" y="445"/>
                </a:cxn>
                <a:cxn ang="0">
                  <a:pos x="501" y="481"/>
                </a:cxn>
                <a:cxn ang="0">
                  <a:pos x="567" y="558"/>
                </a:cxn>
                <a:cxn ang="0">
                  <a:pos x="630" y="627"/>
                </a:cxn>
                <a:cxn ang="0">
                  <a:pos x="658" y="703"/>
                </a:cxn>
                <a:cxn ang="0">
                  <a:pos x="635" y="752"/>
                </a:cxn>
                <a:cxn ang="0">
                  <a:pos x="683" y="821"/>
                </a:cxn>
                <a:cxn ang="0">
                  <a:pos x="740" y="858"/>
                </a:cxn>
                <a:cxn ang="0">
                  <a:pos x="782" y="884"/>
                </a:cxn>
                <a:cxn ang="0">
                  <a:pos x="860" y="913"/>
                </a:cxn>
                <a:cxn ang="0">
                  <a:pos x="905" y="941"/>
                </a:cxn>
                <a:cxn ang="0">
                  <a:pos x="1019" y="983"/>
                </a:cxn>
                <a:cxn ang="0">
                  <a:pos x="1120" y="1020"/>
                </a:cxn>
                <a:cxn ang="0">
                  <a:pos x="1202" y="995"/>
                </a:cxn>
                <a:cxn ang="0">
                  <a:pos x="1336" y="1060"/>
                </a:cxn>
                <a:cxn ang="0">
                  <a:pos x="1371" y="1047"/>
                </a:cxn>
                <a:cxn ang="0">
                  <a:pos x="1454" y="974"/>
                </a:cxn>
                <a:cxn ang="0">
                  <a:pos x="1541" y="892"/>
                </a:cxn>
                <a:cxn ang="0">
                  <a:pos x="1593" y="859"/>
                </a:cxn>
                <a:cxn ang="0">
                  <a:pos x="1616" y="810"/>
                </a:cxn>
                <a:cxn ang="0">
                  <a:pos x="1641" y="736"/>
                </a:cxn>
                <a:cxn ang="0">
                  <a:pos x="1588" y="675"/>
                </a:cxn>
                <a:cxn ang="0">
                  <a:pos x="1464" y="708"/>
                </a:cxn>
                <a:cxn ang="0">
                  <a:pos x="1411" y="830"/>
                </a:cxn>
                <a:cxn ang="0">
                  <a:pos x="1345" y="848"/>
                </a:cxn>
                <a:cxn ang="0">
                  <a:pos x="1215" y="853"/>
                </a:cxn>
                <a:cxn ang="0">
                  <a:pos x="1154" y="822"/>
                </a:cxn>
                <a:cxn ang="0">
                  <a:pos x="1103" y="741"/>
                </a:cxn>
                <a:cxn ang="0">
                  <a:pos x="1063" y="634"/>
                </a:cxn>
                <a:cxn ang="0">
                  <a:pos x="1057" y="498"/>
                </a:cxn>
                <a:cxn ang="0">
                  <a:pos x="1098" y="444"/>
                </a:cxn>
                <a:cxn ang="0">
                  <a:pos x="1078" y="424"/>
                </a:cxn>
                <a:cxn ang="0">
                  <a:pos x="930" y="288"/>
                </a:cxn>
                <a:cxn ang="0">
                  <a:pos x="785" y="185"/>
                </a:cxn>
                <a:cxn ang="0">
                  <a:pos x="615" y="93"/>
                </a:cxn>
                <a:cxn ang="0">
                  <a:pos x="334" y="84"/>
                </a:cxn>
                <a:cxn ang="0">
                  <a:pos x="22" y="52"/>
                </a:cxn>
                <a:cxn ang="0">
                  <a:pos x="57" y="120"/>
                </a:cxn>
                <a:cxn ang="0">
                  <a:pos x="84" y="191"/>
                </a:cxn>
                <a:cxn ang="0">
                  <a:pos x="147" y="241"/>
                </a:cxn>
                <a:cxn ang="0">
                  <a:pos x="164" y="300"/>
                </a:cxn>
                <a:cxn ang="0">
                  <a:pos x="126" y="315"/>
                </a:cxn>
                <a:cxn ang="0">
                  <a:pos x="179" y="358"/>
                </a:cxn>
                <a:cxn ang="0">
                  <a:pos x="239" y="397"/>
                </a:cxn>
                <a:cxn ang="0">
                  <a:pos x="272" y="491"/>
                </a:cxn>
                <a:cxn ang="0">
                  <a:pos x="305" y="509"/>
                </a:cxn>
                <a:cxn ang="0">
                  <a:pos x="394" y="606"/>
                </a:cxn>
                <a:cxn ang="0">
                  <a:pos x="412" y="557"/>
                </a:cxn>
                <a:cxn ang="0">
                  <a:pos x="353" y="507"/>
                </a:cxn>
                <a:cxn ang="0">
                  <a:pos x="323" y="424"/>
                </a:cxn>
                <a:cxn ang="0">
                  <a:pos x="298" y="387"/>
                </a:cxn>
                <a:cxn ang="0">
                  <a:pos x="266" y="330"/>
                </a:cxn>
                <a:cxn ang="0">
                  <a:pos x="231" y="271"/>
                </a:cxn>
                <a:cxn ang="0">
                  <a:pos x="195" y="218"/>
                </a:cxn>
                <a:cxn ang="0">
                  <a:pos x="143" y="164"/>
                </a:cxn>
                <a:cxn ang="0">
                  <a:pos x="127" y="56"/>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839" name="Group 270"/>
            <p:cNvGrpSpPr>
              <a:grpSpLocks noChangeAspect="1"/>
            </p:cNvGrpSpPr>
            <p:nvPr/>
          </p:nvGrpSpPr>
          <p:grpSpPr bwMode="gray">
            <a:xfrm>
              <a:off x="1832767" y="1897409"/>
              <a:ext cx="1765298" cy="1346200"/>
              <a:chOff x="672" y="1356"/>
              <a:chExt cx="1112" cy="848"/>
            </a:xfrm>
            <a:grpFill/>
          </p:grpSpPr>
          <p:grpSp>
            <p:nvGrpSpPr>
              <p:cNvPr id="1003" name="Group 271"/>
              <p:cNvGrpSpPr>
                <a:grpSpLocks noChangeAspect="1"/>
              </p:cNvGrpSpPr>
              <p:nvPr/>
            </p:nvGrpSpPr>
            <p:grpSpPr bwMode="gray">
              <a:xfrm>
                <a:off x="672" y="1356"/>
                <a:ext cx="418" cy="413"/>
                <a:chOff x="672" y="1356"/>
                <a:chExt cx="418" cy="413"/>
              </a:xfrm>
              <a:grpFill/>
            </p:grpSpPr>
            <p:sp>
              <p:nvSpPr>
                <p:cNvPr id="1010" name="Freeform 272"/>
                <p:cNvSpPr>
                  <a:spLocks noChangeAspect="1"/>
                </p:cNvSpPr>
                <p:nvPr/>
              </p:nvSpPr>
              <p:spPr bwMode="gray">
                <a:xfrm>
                  <a:off x="776" y="1738"/>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11" name="Freeform 273"/>
                <p:cNvSpPr>
                  <a:spLocks noChangeAspect="1"/>
                </p:cNvSpPr>
                <p:nvPr/>
              </p:nvSpPr>
              <p:spPr bwMode="gray">
                <a:xfrm>
                  <a:off x="833" y="1721"/>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12" name="Freeform 274"/>
                <p:cNvSpPr>
                  <a:spLocks noChangeAspect="1"/>
                </p:cNvSpPr>
                <p:nvPr/>
              </p:nvSpPr>
              <p:spPr bwMode="gray">
                <a:xfrm>
                  <a:off x="817" y="1706"/>
                  <a:ext cx="29" cy="24"/>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13" name="Freeform 275"/>
                <p:cNvSpPr>
                  <a:spLocks noChangeAspect="1"/>
                </p:cNvSpPr>
                <p:nvPr/>
              </p:nvSpPr>
              <p:spPr bwMode="gray">
                <a:xfrm>
                  <a:off x="672" y="1356"/>
                  <a:ext cx="328" cy="411"/>
                </a:xfrm>
                <a:custGeom>
                  <a:avLst/>
                  <a:gdLst/>
                  <a:ahLst/>
                  <a:cxnLst>
                    <a:cxn ang="0">
                      <a:pos x="1427" y="242"/>
                    </a:cxn>
                    <a:cxn ang="0">
                      <a:pos x="1252" y="223"/>
                    </a:cxn>
                    <a:cxn ang="0">
                      <a:pos x="977" y="152"/>
                    </a:cxn>
                    <a:cxn ang="0">
                      <a:pos x="845" y="94"/>
                    </a:cxn>
                    <a:cxn ang="0">
                      <a:pos x="709" y="40"/>
                    </a:cxn>
                    <a:cxn ang="0">
                      <a:pos x="672" y="64"/>
                    </a:cxn>
                    <a:cxn ang="0">
                      <a:pos x="602" y="33"/>
                    </a:cxn>
                    <a:cxn ang="0">
                      <a:pos x="466" y="88"/>
                    </a:cxn>
                    <a:cxn ang="0">
                      <a:pos x="440" y="158"/>
                    </a:cxn>
                    <a:cxn ang="0">
                      <a:pos x="353" y="233"/>
                    </a:cxn>
                    <a:cxn ang="0">
                      <a:pos x="270" y="323"/>
                    </a:cxn>
                    <a:cxn ang="0">
                      <a:pos x="102" y="459"/>
                    </a:cxn>
                    <a:cxn ang="0">
                      <a:pos x="233" y="608"/>
                    </a:cxn>
                    <a:cxn ang="0">
                      <a:pos x="319" y="670"/>
                    </a:cxn>
                    <a:cxn ang="0">
                      <a:pos x="436" y="717"/>
                    </a:cxn>
                    <a:cxn ang="0">
                      <a:pos x="392" y="748"/>
                    </a:cxn>
                    <a:cxn ang="0">
                      <a:pos x="393" y="780"/>
                    </a:cxn>
                    <a:cxn ang="0">
                      <a:pos x="289" y="796"/>
                    </a:cxn>
                    <a:cxn ang="0">
                      <a:pos x="160" y="749"/>
                    </a:cxn>
                    <a:cxn ang="0">
                      <a:pos x="36" y="829"/>
                    </a:cxn>
                    <a:cxn ang="0">
                      <a:pos x="70" y="906"/>
                    </a:cxn>
                    <a:cxn ang="0">
                      <a:pos x="270" y="1001"/>
                    </a:cxn>
                    <a:cxn ang="0">
                      <a:pos x="405" y="970"/>
                    </a:cxn>
                    <a:cxn ang="0">
                      <a:pos x="394" y="1115"/>
                    </a:cxn>
                    <a:cxn ang="0">
                      <a:pos x="256" y="1179"/>
                    </a:cxn>
                    <a:cxn ang="0">
                      <a:pos x="127" y="1305"/>
                    </a:cxn>
                    <a:cxn ang="0">
                      <a:pos x="155" y="1358"/>
                    </a:cxn>
                    <a:cxn ang="0">
                      <a:pos x="193" y="1420"/>
                    </a:cxn>
                    <a:cxn ang="0">
                      <a:pos x="222" y="1535"/>
                    </a:cxn>
                    <a:cxn ang="0">
                      <a:pos x="313" y="1517"/>
                    </a:cxn>
                    <a:cxn ang="0">
                      <a:pos x="349" y="1583"/>
                    </a:cxn>
                    <a:cxn ang="0">
                      <a:pos x="345" y="1683"/>
                    </a:cxn>
                    <a:cxn ang="0">
                      <a:pos x="461" y="1652"/>
                    </a:cxn>
                    <a:cxn ang="0">
                      <a:pos x="548" y="1679"/>
                    </a:cxn>
                    <a:cxn ang="0">
                      <a:pos x="549" y="1814"/>
                    </a:cxn>
                    <a:cxn ang="0">
                      <a:pos x="414" y="1939"/>
                    </a:cxn>
                    <a:cxn ang="0">
                      <a:pos x="326" y="1968"/>
                    </a:cxn>
                    <a:cxn ang="0">
                      <a:pos x="263" y="2054"/>
                    </a:cxn>
                    <a:cxn ang="0">
                      <a:pos x="334" y="2020"/>
                    </a:cxn>
                    <a:cxn ang="0">
                      <a:pos x="432" y="1975"/>
                    </a:cxn>
                    <a:cxn ang="0">
                      <a:pos x="515" y="1925"/>
                    </a:cxn>
                    <a:cxn ang="0">
                      <a:pos x="576" y="1872"/>
                    </a:cxn>
                    <a:cxn ang="0">
                      <a:pos x="658" y="1788"/>
                    </a:cxn>
                    <a:cxn ang="0">
                      <a:pos x="767" y="1707"/>
                    </a:cxn>
                    <a:cxn ang="0">
                      <a:pos x="785" y="1592"/>
                    </a:cxn>
                    <a:cxn ang="0">
                      <a:pos x="827" y="1501"/>
                    </a:cxn>
                    <a:cxn ang="0">
                      <a:pos x="983" y="1287"/>
                    </a:cxn>
                    <a:cxn ang="0">
                      <a:pos x="1042" y="1436"/>
                    </a:cxn>
                    <a:cxn ang="0">
                      <a:pos x="892" y="1567"/>
                    </a:cxn>
                    <a:cxn ang="0">
                      <a:pos x="892" y="1617"/>
                    </a:cxn>
                    <a:cxn ang="0">
                      <a:pos x="1000" y="1550"/>
                    </a:cxn>
                    <a:cxn ang="0">
                      <a:pos x="1088" y="1509"/>
                    </a:cxn>
                    <a:cxn ang="0">
                      <a:pos x="1066" y="1448"/>
                    </a:cxn>
                    <a:cxn ang="0">
                      <a:pos x="1115" y="1405"/>
                    </a:cxn>
                    <a:cxn ang="0">
                      <a:pos x="1168" y="1454"/>
                    </a:cxn>
                    <a:cxn ang="0">
                      <a:pos x="1263" y="1481"/>
                    </a:cxn>
                    <a:cxn ang="0">
                      <a:pos x="1383" y="1528"/>
                    </a:cxn>
                    <a:cxn ang="0">
                      <a:pos x="1574" y="1540"/>
                    </a:cxn>
                    <a:cxn ang="0">
                      <a:pos x="1564" y="1570"/>
                    </a:cxn>
                    <a:cxn ang="0">
                      <a:pos x="1628" y="159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14" name="Freeform 276"/>
                <p:cNvSpPr>
                  <a:spLocks noChangeAspect="1"/>
                </p:cNvSpPr>
                <p:nvPr/>
              </p:nvSpPr>
              <p:spPr bwMode="gray">
                <a:xfrm>
                  <a:off x="999" y="1668"/>
                  <a:ext cx="91" cy="101"/>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grpSp>
            <p:nvGrpSpPr>
              <p:cNvPr id="1004" name="Group 277"/>
              <p:cNvGrpSpPr>
                <a:grpSpLocks noChangeAspect="1"/>
              </p:cNvGrpSpPr>
              <p:nvPr/>
            </p:nvGrpSpPr>
            <p:grpSpPr bwMode="gray">
              <a:xfrm>
                <a:off x="1149" y="1865"/>
                <a:ext cx="635" cy="339"/>
                <a:chOff x="1149" y="1865"/>
                <a:chExt cx="635" cy="339"/>
              </a:xfrm>
              <a:grpFill/>
            </p:grpSpPr>
            <p:sp>
              <p:nvSpPr>
                <p:cNvPr id="1005" name="Freeform 278"/>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06" name="Freeform 279"/>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07" name="Freeform 280"/>
                <p:cNvSpPr>
                  <a:spLocks noChangeAspect="1"/>
                </p:cNvSpPr>
                <p:nvPr/>
              </p:nvSpPr>
              <p:spPr bwMode="gray">
                <a:xfrm>
                  <a:off x="1671" y="2027"/>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08" name="Freeform 281"/>
                <p:cNvSpPr>
                  <a:spLocks noChangeAspect="1"/>
                </p:cNvSpPr>
                <p:nvPr/>
              </p:nvSpPr>
              <p:spPr bwMode="gray">
                <a:xfrm>
                  <a:off x="1670" y="2025"/>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09" name="Freeform 282"/>
                <p:cNvSpPr>
                  <a:spLocks noChangeAspect="1"/>
                </p:cNvSpPr>
                <p:nvPr/>
              </p:nvSpPr>
              <p:spPr bwMode="gray">
                <a:xfrm>
                  <a:off x="1149" y="1865"/>
                  <a:ext cx="633" cy="339"/>
                </a:xfrm>
                <a:custGeom>
                  <a:avLst/>
                  <a:gdLst/>
                  <a:ahLst/>
                  <a:cxnLst>
                    <a:cxn ang="0">
                      <a:pos x="3079" y="181"/>
                    </a:cxn>
                    <a:cxn ang="0">
                      <a:pos x="2964" y="328"/>
                    </a:cxn>
                    <a:cxn ang="0">
                      <a:pos x="2682" y="394"/>
                    </a:cxn>
                    <a:cxn ang="0">
                      <a:pos x="2593" y="483"/>
                    </a:cxn>
                    <a:cxn ang="0">
                      <a:pos x="2432" y="575"/>
                    </a:cxn>
                    <a:cxn ang="0">
                      <a:pos x="2290" y="541"/>
                    </a:cxn>
                    <a:cxn ang="0">
                      <a:pos x="2235" y="456"/>
                    </a:cxn>
                    <a:cxn ang="0">
                      <a:pos x="2211" y="306"/>
                    </a:cxn>
                    <a:cxn ang="0">
                      <a:pos x="2135" y="345"/>
                    </a:cxn>
                    <a:cxn ang="0">
                      <a:pos x="2081" y="588"/>
                    </a:cxn>
                    <a:cxn ang="0">
                      <a:pos x="2036" y="404"/>
                    </a:cxn>
                    <a:cxn ang="0">
                      <a:pos x="2077" y="294"/>
                    </a:cxn>
                    <a:cxn ang="0">
                      <a:pos x="2231" y="279"/>
                    </a:cxn>
                    <a:cxn ang="0">
                      <a:pos x="2111" y="222"/>
                    </a:cxn>
                    <a:cxn ang="0">
                      <a:pos x="2021" y="160"/>
                    </a:cxn>
                    <a:cxn ang="0">
                      <a:pos x="1811" y="226"/>
                    </a:cxn>
                    <a:cxn ang="0">
                      <a:pos x="1785" y="86"/>
                    </a:cxn>
                    <a:cxn ang="0">
                      <a:pos x="1640" y="33"/>
                    </a:cxn>
                    <a:cxn ang="0">
                      <a:pos x="888" y="36"/>
                    </a:cxn>
                    <a:cxn ang="0">
                      <a:pos x="133" y="58"/>
                    </a:cxn>
                    <a:cxn ang="0">
                      <a:pos x="101" y="150"/>
                    </a:cxn>
                    <a:cxn ang="0">
                      <a:pos x="4" y="86"/>
                    </a:cxn>
                    <a:cxn ang="0">
                      <a:pos x="46" y="225"/>
                    </a:cxn>
                    <a:cxn ang="0">
                      <a:pos x="47" y="295"/>
                    </a:cxn>
                    <a:cxn ang="0">
                      <a:pos x="27" y="576"/>
                    </a:cxn>
                    <a:cxn ang="0">
                      <a:pos x="98" y="850"/>
                    </a:cxn>
                    <a:cxn ang="0">
                      <a:pos x="130" y="886"/>
                    </a:cxn>
                    <a:cxn ang="0">
                      <a:pos x="223" y="1056"/>
                    </a:cxn>
                    <a:cxn ang="0">
                      <a:pos x="336" y="1131"/>
                    </a:cxn>
                    <a:cxn ang="0">
                      <a:pos x="989" y="1276"/>
                    </a:cxn>
                    <a:cxn ang="0">
                      <a:pos x="1294" y="1430"/>
                    </a:cxn>
                    <a:cxn ang="0">
                      <a:pos x="1501" y="1624"/>
                    </a:cxn>
                    <a:cxn ang="0">
                      <a:pos x="1515" y="1515"/>
                    </a:cxn>
                    <a:cxn ang="0">
                      <a:pos x="1564" y="1480"/>
                    </a:cxn>
                    <a:cxn ang="0">
                      <a:pos x="1629" y="1410"/>
                    </a:cxn>
                    <a:cxn ang="0">
                      <a:pos x="1784" y="1405"/>
                    </a:cxn>
                    <a:cxn ang="0">
                      <a:pos x="1912" y="1435"/>
                    </a:cxn>
                    <a:cxn ang="0">
                      <a:pos x="1905" y="1382"/>
                    </a:cxn>
                    <a:cxn ang="0">
                      <a:pos x="2012" y="1367"/>
                    </a:cxn>
                    <a:cxn ang="0">
                      <a:pos x="2117" y="1377"/>
                    </a:cxn>
                    <a:cxn ang="0">
                      <a:pos x="2264" y="1424"/>
                    </a:cxn>
                    <a:cxn ang="0">
                      <a:pos x="2323" y="1587"/>
                    </a:cxn>
                    <a:cxn ang="0">
                      <a:pos x="2409" y="1690"/>
                    </a:cxn>
                    <a:cxn ang="0">
                      <a:pos x="2365" y="1348"/>
                    </a:cxn>
                    <a:cxn ang="0">
                      <a:pos x="2446" y="1228"/>
                    </a:cxn>
                    <a:cxn ang="0">
                      <a:pos x="2579" y="1118"/>
                    </a:cxn>
                    <a:cxn ang="0">
                      <a:pos x="2645" y="1037"/>
                    </a:cxn>
                    <a:cxn ang="0">
                      <a:pos x="2634" y="986"/>
                    </a:cxn>
                    <a:cxn ang="0">
                      <a:pos x="2655" y="940"/>
                    </a:cxn>
                    <a:cxn ang="0">
                      <a:pos x="2654" y="871"/>
                    </a:cxn>
                    <a:cxn ang="0">
                      <a:pos x="2651" y="857"/>
                    </a:cxn>
                    <a:cxn ang="0">
                      <a:pos x="2661" y="778"/>
                    </a:cxn>
                    <a:cxn ang="0">
                      <a:pos x="2683" y="867"/>
                    </a:cxn>
                    <a:cxn ang="0">
                      <a:pos x="2708" y="796"/>
                    </a:cxn>
                    <a:cxn ang="0">
                      <a:pos x="2774" y="727"/>
                    </a:cxn>
                    <a:cxn ang="0">
                      <a:pos x="2843" y="631"/>
                    </a:cxn>
                    <a:cxn ang="0">
                      <a:pos x="3004" y="602"/>
                    </a:cxn>
                    <a:cxn ang="0">
                      <a:pos x="2957" y="538"/>
                    </a:cxn>
                    <a:cxn ang="0">
                      <a:pos x="3032" y="440"/>
                    </a:cxn>
                    <a:cxn ang="0">
                      <a:pos x="3107" y="39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grpSp>
        <p:grpSp>
          <p:nvGrpSpPr>
            <p:cNvPr id="840" name="Group 283"/>
            <p:cNvGrpSpPr>
              <a:grpSpLocks noChangeAspect="1"/>
            </p:cNvGrpSpPr>
            <p:nvPr/>
          </p:nvGrpSpPr>
          <p:grpSpPr bwMode="gray">
            <a:xfrm>
              <a:off x="2304255" y="1543397"/>
              <a:ext cx="1538287" cy="1347788"/>
              <a:chOff x="969" y="1133"/>
              <a:chExt cx="969" cy="849"/>
            </a:xfrm>
            <a:grpFill/>
          </p:grpSpPr>
          <p:sp>
            <p:nvSpPr>
              <p:cNvPr id="985" name="Freeform 284"/>
              <p:cNvSpPr>
                <a:spLocks noChangeAspect="1"/>
              </p:cNvSpPr>
              <p:nvPr/>
            </p:nvSpPr>
            <p:spPr bwMode="gray">
              <a:xfrm>
                <a:off x="1903" y="1791"/>
                <a:ext cx="1" cy="1"/>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86" name="Freeform 285"/>
              <p:cNvSpPr>
                <a:spLocks noChangeAspect="1"/>
              </p:cNvSpPr>
              <p:nvPr/>
            </p:nvSpPr>
            <p:spPr bwMode="gray">
              <a:xfrm>
                <a:off x="1865" y="1826"/>
                <a:ext cx="73" cy="8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87" name="Freeform 286"/>
              <p:cNvSpPr>
                <a:spLocks noChangeAspect="1"/>
              </p:cNvSpPr>
              <p:nvPr/>
            </p:nvSpPr>
            <p:spPr bwMode="gray">
              <a:xfrm>
                <a:off x="1108" y="1839"/>
                <a:ext cx="55" cy="43"/>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88" name="Freeform 287"/>
              <p:cNvSpPr>
                <a:spLocks noChangeAspect="1"/>
              </p:cNvSpPr>
              <p:nvPr/>
            </p:nvSpPr>
            <p:spPr bwMode="gray">
              <a:xfrm>
                <a:off x="1425" y="1404"/>
                <a:ext cx="47" cy="44"/>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89" name="Freeform 288"/>
              <p:cNvSpPr>
                <a:spLocks noChangeAspect="1"/>
              </p:cNvSpPr>
              <p:nvPr/>
            </p:nvSpPr>
            <p:spPr bwMode="gray">
              <a:xfrm>
                <a:off x="1134" y="1234"/>
                <a:ext cx="117" cy="130"/>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90" name="Freeform 289"/>
              <p:cNvSpPr>
                <a:spLocks noChangeAspect="1"/>
              </p:cNvSpPr>
              <p:nvPr/>
            </p:nvSpPr>
            <p:spPr bwMode="gray">
              <a:xfrm>
                <a:off x="1210" y="1283"/>
                <a:ext cx="200" cy="164"/>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91" name="Freeform 290"/>
              <p:cNvSpPr>
                <a:spLocks noChangeAspect="1"/>
              </p:cNvSpPr>
              <p:nvPr/>
            </p:nvSpPr>
            <p:spPr bwMode="gray">
              <a:xfrm>
                <a:off x="1342" y="1267"/>
                <a:ext cx="27" cy="34"/>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92" name="Freeform 291"/>
              <p:cNvSpPr>
                <a:spLocks noChangeAspect="1"/>
              </p:cNvSpPr>
              <p:nvPr/>
            </p:nvSpPr>
            <p:spPr bwMode="gray">
              <a:xfrm>
                <a:off x="1392" y="1262"/>
                <a:ext cx="67" cy="97"/>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93" name="Freeform 293"/>
              <p:cNvSpPr>
                <a:spLocks noChangeAspect="1"/>
              </p:cNvSpPr>
              <p:nvPr/>
            </p:nvSpPr>
            <p:spPr bwMode="gray">
              <a:xfrm>
                <a:off x="1225" y="1133"/>
                <a:ext cx="134" cy="107"/>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94" name="Freeform 299"/>
              <p:cNvSpPr>
                <a:spLocks noChangeAspect="1"/>
              </p:cNvSpPr>
              <p:nvPr/>
            </p:nvSpPr>
            <p:spPr bwMode="gray">
              <a:xfrm>
                <a:off x="1457" y="1187"/>
                <a:ext cx="33" cy="46"/>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95" name="Freeform 300"/>
              <p:cNvSpPr>
                <a:spLocks noChangeAspect="1"/>
              </p:cNvSpPr>
              <p:nvPr/>
            </p:nvSpPr>
            <p:spPr bwMode="gray">
              <a:xfrm>
                <a:off x="1559" y="1520"/>
                <a:ext cx="77" cy="70"/>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96" name="Freeform 301"/>
              <p:cNvSpPr>
                <a:spLocks noChangeAspect="1"/>
              </p:cNvSpPr>
              <p:nvPr/>
            </p:nvSpPr>
            <p:spPr bwMode="gray">
              <a:xfrm>
                <a:off x="1668" y="1452"/>
                <a:ext cx="24" cy="3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97" name="Freeform 302"/>
              <p:cNvSpPr>
                <a:spLocks noChangeAspect="1"/>
              </p:cNvSpPr>
              <p:nvPr/>
            </p:nvSpPr>
            <p:spPr bwMode="gray">
              <a:xfrm>
                <a:off x="1628" y="1270"/>
                <a:ext cx="53" cy="38"/>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98" name="Freeform 303"/>
              <p:cNvSpPr>
                <a:spLocks noChangeAspect="1"/>
              </p:cNvSpPr>
              <p:nvPr/>
            </p:nvSpPr>
            <p:spPr bwMode="gray">
              <a:xfrm>
                <a:off x="1527" y="1265"/>
                <a:ext cx="316" cy="356"/>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99" name="Freeform 304"/>
              <p:cNvSpPr>
                <a:spLocks noChangeAspect="1"/>
              </p:cNvSpPr>
              <p:nvPr/>
            </p:nvSpPr>
            <p:spPr bwMode="gray">
              <a:xfrm>
                <a:off x="969" y="1334"/>
                <a:ext cx="937" cy="648"/>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00" name="Freeform 310"/>
              <p:cNvSpPr>
                <a:spLocks noChangeAspect="1"/>
              </p:cNvSpPr>
              <p:nvPr/>
            </p:nvSpPr>
            <p:spPr bwMode="gray">
              <a:xfrm>
                <a:off x="1564" y="1147"/>
                <a:ext cx="1" cy="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01" name="Freeform 311"/>
              <p:cNvSpPr>
                <a:spLocks noChangeAspect="1"/>
              </p:cNvSpPr>
              <p:nvPr/>
            </p:nvSpPr>
            <p:spPr bwMode="gray">
              <a:xfrm>
                <a:off x="1031" y="1408"/>
                <a:ext cx="17" cy="23"/>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1002" name="Freeform 312"/>
              <p:cNvSpPr>
                <a:spLocks noChangeAspect="1"/>
              </p:cNvSpPr>
              <p:nvPr/>
            </p:nvSpPr>
            <p:spPr bwMode="gray">
              <a:xfrm>
                <a:off x="1024" y="1423"/>
                <a:ext cx="11" cy="11"/>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841" name="Freeform 313"/>
            <p:cNvSpPr>
              <a:spLocks noChangeAspect="1"/>
            </p:cNvSpPr>
            <p:nvPr/>
          </p:nvSpPr>
          <p:spPr bwMode="gray">
            <a:xfrm rot="21085610">
              <a:off x="3399630" y="3186459"/>
              <a:ext cx="12700" cy="6350"/>
            </a:xfrm>
            <a:custGeom>
              <a:avLst/>
              <a:gdLst/>
              <a:ahLst/>
              <a:cxnLst>
                <a:cxn ang="0">
                  <a:pos x="291" y="10"/>
                </a:cxn>
                <a:cxn ang="0">
                  <a:pos x="281" y="6"/>
                </a:cxn>
                <a:cxn ang="0">
                  <a:pos x="289" y="25"/>
                </a:cxn>
                <a:cxn ang="0">
                  <a:pos x="298" y="25"/>
                </a:cxn>
                <a:cxn ang="0">
                  <a:pos x="326" y="50"/>
                </a:cxn>
                <a:cxn ang="0">
                  <a:pos x="336" y="96"/>
                </a:cxn>
                <a:cxn ang="0">
                  <a:pos x="312" y="69"/>
                </a:cxn>
                <a:cxn ang="0">
                  <a:pos x="274" y="50"/>
                </a:cxn>
                <a:cxn ang="0">
                  <a:pos x="230" y="52"/>
                </a:cxn>
                <a:cxn ang="0">
                  <a:pos x="98" y="96"/>
                </a:cxn>
                <a:cxn ang="0">
                  <a:pos x="21" y="93"/>
                </a:cxn>
                <a:cxn ang="0">
                  <a:pos x="0" y="52"/>
                </a:cxn>
                <a:cxn ang="0">
                  <a:pos x="87" y="45"/>
                </a:cxn>
                <a:cxn ang="0">
                  <a:pos x="208" y="0"/>
                </a:cxn>
                <a:cxn ang="0">
                  <a:pos x="257" y="0"/>
                </a:cxn>
                <a:cxn ang="0">
                  <a:pos x="291" y="10"/>
                </a:cxn>
              </a:cxnLst>
              <a:rect l="0" t="0" r="r" b="b"/>
              <a:pathLst>
                <a:path w="336" h="96">
                  <a:moveTo>
                    <a:pt x="291" y="10"/>
                  </a:moveTo>
                  <a:lnTo>
                    <a:pt x="281" y="6"/>
                  </a:lnTo>
                  <a:lnTo>
                    <a:pt x="289" y="25"/>
                  </a:lnTo>
                  <a:lnTo>
                    <a:pt x="298" y="25"/>
                  </a:lnTo>
                  <a:lnTo>
                    <a:pt x="326" y="50"/>
                  </a:lnTo>
                  <a:lnTo>
                    <a:pt x="336" y="96"/>
                  </a:lnTo>
                  <a:lnTo>
                    <a:pt x="312" y="69"/>
                  </a:lnTo>
                  <a:lnTo>
                    <a:pt x="274" y="50"/>
                  </a:lnTo>
                  <a:lnTo>
                    <a:pt x="230" y="52"/>
                  </a:lnTo>
                  <a:lnTo>
                    <a:pt x="98" y="96"/>
                  </a:lnTo>
                  <a:lnTo>
                    <a:pt x="21" y="93"/>
                  </a:lnTo>
                  <a:lnTo>
                    <a:pt x="0" y="52"/>
                  </a:lnTo>
                  <a:lnTo>
                    <a:pt x="87" y="45"/>
                  </a:lnTo>
                  <a:lnTo>
                    <a:pt x="208" y="0"/>
                  </a:lnTo>
                  <a:lnTo>
                    <a:pt x="257" y="0"/>
                  </a:lnTo>
                  <a:lnTo>
                    <a:pt x="291" y="1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42" name="Freeform 314"/>
            <p:cNvSpPr>
              <a:spLocks noChangeAspect="1"/>
            </p:cNvSpPr>
            <p:nvPr/>
          </p:nvSpPr>
          <p:spPr bwMode="gray">
            <a:xfrm rot="21085610">
              <a:off x="3420267" y="3188047"/>
              <a:ext cx="1588" cy="15875"/>
            </a:xfrm>
            <a:custGeom>
              <a:avLst/>
              <a:gdLst/>
              <a:ahLst/>
              <a:cxnLst>
                <a:cxn ang="0">
                  <a:pos x="76" y="83"/>
                </a:cxn>
                <a:cxn ang="0">
                  <a:pos x="86" y="6"/>
                </a:cxn>
                <a:cxn ang="0">
                  <a:pos x="86" y="62"/>
                </a:cxn>
                <a:cxn ang="0">
                  <a:pos x="53" y="146"/>
                </a:cxn>
                <a:cxn ang="0">
                  <a:pos x="39" y="232"/>
                </a:cxn>
                <a:cxn ang="0">
                  <a:pos x="0" y="173"/>
                </a:cxn>
                <a:cxn ang="0">
                  <a:pos x="14" y="159"/>
                </a:cxn>
                <a:cxn ang="0">
                  <a:pos x="21" y="135"/>
                </a:cxn>
                <a:cxn ang="0">
                  <a:pos x="18" y="95"/>
                </a:cxn>
                <a:cxn ang="0">
                  <a:pos x="42" y="6"/>
                </a:cxn>
                <a:cxn ang="0">
                  <a:pos x="53" y="0"/>
                </a:cxn>
                <a:cxn ang="0">
                  <a:pos x="72" y="41"/>
                </a:cxn>
                <a:cxn ang="0">
                  <a:pos x="76" y="83"/>
                </a:cxn>
              </a:cxnLst>
              <a:rect l="0" t="0" r="r" b="b"/>
              <a:pathLst>
                <a:path w="86" h="232">
                  <a:moveTo>
                    <a:pt x="76" y="83"/>
                  </a:moveTo>
                  <a:lnTo>
                    <a:pt x="86" y="6"/>
                  </a:lnTo>
                  <a:lnTo>
                    <a:pt x="86" y="62"/>
                  </a:lnTo>
                  <a:lnTo>
                    <a:pt x="53" y="146"/>
                  </a:lnTo>
                  <a:lnTo>
                    <a:pt x="39" y="232"/>
                  </a:lnTo>
                  <a:lnTo>
                    <a:pt x="0" y="173"/>
                  </a:lnTo>
                  <a:lnTo>
                    <a:pt x="14" y="159"/>
                  </a:lnTo>
                  <a:lnTo>
                    <a:pt x="21" y="135"/>
                  </a:lnTo>
                  <a:lnTo>
                    <a:pt x="18" y="95"/>
                  </a:lnTo>
                  <a:lnTo>
                    <a:pt x="42" y="6"/>
                  </a:lnTo>
                  <a:lnTo>
                    <a:pt x="53" y="0"/>
                  </a:lnTo>
                  <a:lnTo>
                    <a:pt x="72" y="41"/>
                  </a:lnTo>
                  <a:lnTo>
                    <a:pt x="76" y="8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43" name="Freeform 315"/>
            <p:cNvSpPr>
              <a:spLocks noChangeAspect="1"/>
            </p:cNvSpPr>
            <p:nvPr/>
          </p:nvSpPr>
          <p:spPr bwMode="gray">
            <a:xfrm rot="21085610">
              <a:off x="3420267" y="3224558"/>
              <a:ext cx="3175" cy="1588"/>
            </a:xfrm>
            <a:custGeom>
              <a:avLst/>
              <a:gdLst/>
              <a:ahLst/>
              <a:cxnLst>
                <a:cxn ang="0">
                  <a:pos x="55" y="25"/>
                </a:cxn>
                <a:cxn ang="0">
                  <a:pos x="73" y="7"/>
                </a:cxn>
                <a:cxn ang="0">
                  <a:pos x="73" y="0"/>
                </a:cxn>
                <a:cxn ang="0">
                  <a:pos x="48" y="0"/>
                </a:cxn>
                <a:cxn ang="0">
                  <a:pos x="8" y="4"/>
                </a:cxn>
                <a:cxn ang="0">
                  <a:pos x="0" y="28"/>
                </a:cxn>
                <a:cxn ang="0">
                  <a:pos x="55" y="25"/>
                </a:cxn>
              </a:cxnLst>
              <a:rect l="0" t="0" r="r" b="b"/>
              <a:pathLst>
                <a:path w="73" h="28">
                  <a:moveTo>
                    <a:pt x="55" y="25"/>
                  </a:moveTo>
                  <a:lnTo>
                    <a:pt x="73" y="7"/>
                  </a:lnTo>
                  <a:lnTo>
                    <a:pt x="73" y="0"/>
                  </a:lnTo>
                  <a:lnTo>
                    <a:pt x="48" y="0"/>
                  </a:lnTo>
                  <a:lnTo>
                    <a:pt x="8" y="4"/>
                  </a:lnTo>
                  <a:lnTo>
                    <a:pt x="0" y="28"/>
                  </a:lnTo>
                  <a:lnTo>
                    <a:pt x="55" y="2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44" name="Freeform 316"/>
            <p:cNvSpPr>
              <a:spLocks noChangeAspect="1"/>
            </p:cNvSpPr>
            <p:nvPr/>
          </p:nvSpPr>
          <p:spPr bwMode="gray">
            <a:xfrm rot="21085610">
              <a:off x="3412330" y="3222972"/>
              <a:ext cx="6350" cy="19050"/>
            </a:xfrm>
            <a:custGeom>
              <a:avLst/>
              <a:gdLst/>
              <a:ahLst/>
              <a:cxnLst>
                <a:cxn ang="0">
                  <a:pos x="93" y="46"/>
                </a:cxn>
                <a:cxn ang="0">
                  <a:pos x="107" y="50"/>
                </a:cxn>
                <a:cxn ang="0">
                  <a:pos x="114" y="81"/>
                </a:cxn>
                <a:cxn ang="0">
                  <a:pos x="175" y="163"/>
                </a:cxn>
                <a:cxn ang="0">
                  <a:pos x="175" y="244"/>
                </a:cxn>
                <a:cxn ang="0">
                  <a:pos x="168" y="268"/>
                </a:cxn>
                <a:cxn ang="0">
                  <a:pos x="141" y="288"/>
                </a:cxn>
                <a:cxn ang="0">
                  <a:pos x="101" y="291"/>
                </a:cxn>
                <a:cxn ang="0">
                  <a:pos x="59" y="244"/>
                </a:cxn>
                <a:cxn ang="0">
                  <a:pos x="10" y="212"/>
                </a:cxn>
                <a:cxn ang="0">
                  <a:pos x="0" y="167"/>
                </a:cxn>
                <a:cxn ang="0">
                  <a:pos x="28" y="84"/>
                </a:cxn>
                <a:cxn ang="0">
                  <a:pos x="35" y="39"/>
                </a:cxn>
                <a:cxn ang="0">
                  <a:pos x="30" y="8"/>
                </a:cxn>
                <a:cxn ang="0">
                  <a:pos x="79" y="0"/>
                </a:cxn>
                <a:cxn ang="0">
                  <a:pos x="93" y="46"/>
                </a:cxn>
              </a:cxnLst>
              <a:rect l="0" t="0" r="r" b="b"/>
              <a:pathLst>
                <a:path w="175" h="291">
                  <a:moveTo>
                    <a:pt x="93" y="46"/>
                  </a:moveTo>
                  <a:lnTo>
                    <a:pt x="107" y="50"/>
                  </a:lnTo>
                  <a:lnTo>
                    <a:pt x="114" y="81"/>
                  </a:lnTo>
                  <a:lnTo>
                    <a:pt x="175" y="163"/>
                  </a:lnTo>
                  <a:lnTo>
                    <a:pt x="175" y="244"/>
                  </a:lnTo>
                  <a:lnTo>
                    <a:pt x="168" y="268"/>
                  </a:lnTo>
                  <a:lnTo>
                    <a:pt x="141" y="288"/>
                  </a:lnTo>
                  <a:lnTo>
                    <a:pt x="101" y="291"/>
                  </a:lnTo>
                  <a:lnTo>
                    <a:pt x="59" y="244"/>
                  </a:lnTo>
                  <a:lnTo>
                    <a:pt x="10" y="212"/>
                  </a:lnTo>
                  <a:lnTo>
                    <a:pt x="0" y="167"/>
                  </a:lnTo>
                  <a:lnTo>
                    <a:pt x="28" y="84"/>
                  </a:lnTo>
                  <a:lnTo>
                    <a:pt x="35" y="39"/>
                  </a:lnTo>
                  <a:lnTo>
                    <a:pt x="30" y="8"/>
                  </a:lnTo>
                  <a:lnTo>
                    <a:pt x="79" y="0"/>
                  </a:lnTo>
                  <a:lnTo>
                    <a:pt x="93" y="4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45" name="Freeform 317"/>
            <p:cNvSpPr>
              <a:spLocks noChangeAspect="1"/>
            </p:cNvSpPr>
            <p:nvPr/>
          </p:nvSpPr>
          <p:spPr bwMode="gray">
            <a:xfrm rot="21085610">
              <a:off x="3420267" y="3245196"/>
              <a:ext cx="1588" cy="9525"/>
            </a:xfrm>
            <a:custGeom>
              <a:avLst/>
              <a:gdLst/>
              <a:ahLst/>
              <a:cxnLst>
                <a:cxn ang="0">
                  <a:pos x="0" y="70"/>
                </a:cxn>
                <a:cxn ang="0">
                  <a:pos x="47" y="0"/>
                </a:cxn>
                <a:cxn ang="0">
                  <a:pos x="69" y="118"/>
                </a:cxn>
                <a:cxn ang="0">
                  <a:pos x="59" y="144"/>
                </a:cxn>
                <a:cxn ang="0">
                  <a:pos x="17" y="128"/>
                </a:cxn>
                <a:cxn ang="0">
                  <a:pos x="0" y="70"/>
                </a:cxn>
              </a:cxnLst>
              <a:rect l="0" t="0" r="r" b="b"/>
              <a:pathLst>
                <a:path w="69" h="144">
                  <a:moveTo>
                    <a:pt x="0" y="70"/>
                  </a:moveTo>
                  <a:lnTo>
                    <a:pt x="47" y="0"/>
                  </a:lnTo>
                  <a:lnTo>
                    <a:pt x="69" y="118"/>
                  </a:lnTo>
                  <a:lnTo>
                    <a:pt x="59" y="144"/>
                  </a:lnTo>
                  <a:lnTo>
                    <a:pt x="17" y="128"/>
                  </a:lnTo>
                  <a:lnTo>
                    <a:pt x="0" y="7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46" name="Freeform 318"/>
            <p:cNvSpPr>
              <a:spLocks noChangeAspect="1"/>
            </p:cNvSpPr>
            <p:nvPr/>
          </p:nvSpPr>
          <p:spPr bwMode="gray">
            <a:xfrm rot="21085610">
              <a:off x="3434555" y="3218209"/>
              <a:ext cx="1588" cy="12700"/>
            </a:xfrm>
            <a:custGeom>
              <a:avLst/>
              <a:gdLst/>
              <a:ahLst/>
              <a:cxnLst>
                <a:cxn ang="0">
                  <a:pos x="37" y="20"/>
                </a:cxn>
                <a:cxn ang="0">
                  <a:pos x="37" y="0"/>
                </a:cxn>
                <a:cxn ang="0">
                  <a:pos x="52" y="45"/>
                </a:cxn>
                <a:cxn ang="0">
                  <a:pos x="47" y="192"/>
                </a:cxn>
                <a:cxn ang="0">
                  <a:pos x="10" y="160"/>
                </a:cxn>
                <a:cxn ang="0">
                  <a:pos x="0" y="120"/>
                </a:cxn>
                <a:cxn ang="0">
                  <a:pos x="20" y="99"/>
                </a:cxn>
                <a:cxn ang="0">
                  <a:pos x="37" y="20"/>
                </a:cxn>
              </a:cxnLst>
              <a:rect l="0" t="0" r="r" b="b"/>
              <a:pathLst>
                <a:path w="52" h="192">
                  <a:moveTo>
                    <a:pt x="37" y="20"/>
                  </a:moveTo>
                  <a:lnTo>
                    <a:pt x="37" y="0"/>
                  </a:lnTo>
                  <a:lnTo>
                    <a:pt x="52" y="45"/>
                  </a:lnTo>
                  <a:lnTo>
                    <a:pt x="47" y="192"/>
                  </a:lnTo>
                  <a:lnTo>
                    <a:pt x="10" y="160"/>
                  </a:lnTo>
                  <a:lnTo>
                    <a:pt x="0" y="120"/>
                  </a:lnTo>
                  <a:lnTo>
                    <a:pt x="20" y="99"/>
                  </a:lnTo>
                  <a:lnTo>
                    <a:pt x="37" y="2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47" name="Freeform 319"/>
            <p:cNvSpPr>
              <a:spLocks noChangeAspect="1"/>
            </p:cNvSpPr>
            <p:nvPr/>
          </p:nvSpPr>
          <p:spPr bwMode="gray">
            <a:xfrm rot="21085610">
              <a:off x="3442491" y="3229322"/>
              <a:ext cx="4763" cy="14288"/>
            </a:xfrm>
            <a:custGeom>
              <a:avLst/>
              <a:gdLst/>
              <a:ahLst/>
              <a:cxnLst>
                <a:cxn ang="0">
                  <a:pos x="115" y="147"/>
                </a:cxn>
                <a:cxn ang="0">
                  <a:pos x="132" y="142"/>
                </a:cxn>
                <a:cxn ang="0">
                  <a:pos x="146" y="205"/>
                </a:cxn>
                <a:cxn ang="0">
                  <a:pos x="121" y="212"/>
                </a:cxn>
                <a:cxn ang="0">
                  <a:pos x="87" y="202"/>
                </a:cxn>
                <a:cxn ang="0">
                  <a:pos x="101" y="157"/>
                </a:cxn>
                <a:cxn ang="0">
                  <a:pos x="56" y="76"/>
                </a:cxn>
                <a:cxn ang="0">
                  <a:pos x="0" y="0"/>
                </a:cxn>
                <a:cxn ang="0">
                  <a:pos x="24" y="4"/>
                </a:cxn>
                <a:cxn ang="0">
                  <a:pos x="52" y="35"/>
                </a:cxn>
                <a:cxn ang="0">
                  <a:pos x="115" y="147"/>
                </a:cxn>
              </a:cxnLst>
              <a:rect l="0" t="0" r="r" b="b"/>
              <a:pathLst>
                <a:path w="146" h="212">
                  <a:moveTo>
                    <a:pt x="115" y="147"/>
                  </a:moveTo>
                  <a:lnTo>
                    <a:pt x="132" y="142"/>
                  </a:lnTo>
                  <a:lnTo>
                    <a:pt x="146" y="205"/>
                  </a:lnTo>
                  <a:lnTo>
                    <a:pt x="121" y="212"/>
                  </a:lnTo>
                  <a:lnTo>
                    <a:pt x="87" y="202"/>
                  </a:lnTo>
                  <a:lnTo>
                    <a:pt x="101" y="157"/>
                  </a:lnTo>
                  <a:lnTo>
                    <a:pt x="56" y="76"/>
                  </a:lnTo>
                  <a:lnTo>
                    <a:pt x="0" y="0"/>
                  </a:lnTo>
                  <a:lnTo>
                    <a:pt x="24" y="4"/>
                  </a:lnTo>
                  <a:lnTo>
                    <a:pt x="52" y="35"/>
                  </a:lnTo>
                  <a:lnTo>
                    <a:pt x="115" y="14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48" name="Freeform 320"/>
            <p:cNvSpPr>
              <a:spLocks noChangeAspect="1"/>
            </p:cNvSpPr>
            <p:nvPr/>
          </p:nvSpPr>
          <p:spPr bwMode="gray">
            <a:xfrm rot="21085610">
              <a:off x="3456779" y="3240433"/>
              <a:ext cx="3175" cy="3175"/>
            </a:xfrm>
            <a:custGeom>
              <a:avLst/>
              <a:gdLst/>
              <a:ahLst/>
              <a:cxnLst>
                <a:cxn ang="0">
                  <a:pos x="20" y="0"/>
                </a:cxn>
                <a:cxn ang="0">
                  <a:pos x="3" y="28"/>
                </a:cxn>
                <a:cxn ang="0">
                  <a:pos x="0" y="55"/>
                </a:cxn>
                <a:cxn ang="0">
                  <a:pos x="35" y="52"/>
                </a:cxn>
                <a:cxn ang="0">
                  <a:pos x="52" y="0"/>
                </a:cxn>
                <a:cxn ang="0">
                  <a:pos x="20" y="0"/>
                </a:cxn>
              </a:cxnLst>
              <a:rect l="0" t="0" r="r" b="b"/>
              <a:pathLst>
                <a:path w="52" h="55">
                  <a:moveTo>
                    <a:pt x="20" y="0"/>
                  </a:moveTo>
                  <a:lnTo>
                    <a:pt x="3" y="28"/>
                  </a:lnTo>
                  <a:lnTo>
                    <a:pt x="0" y="55"/>
                  </a:lnTo>
                  <a:lnTo>
                    <a:pt x="35" y="52"/>
                  </a:lnTo>
                  <a:lnTo>
                    <a:pt x="52" y="0"/>
                  </a:lnTo>
                  <a:lnTo>
                    <a:pt x="20"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49" name="Freeform 321"/>
            <p:cNvSpPr>
              <a:spLocks noChangeAspect="1"/>
            </p:cNvSpPr>
            <p:nvPr/>
          </p:nvSpPr>
          <p:spPr bwMode="gray">
            <a:xfrm rot="21085610">
              <a:off x="3450429" y="3254721"/>
              <a:ext cx="4763" cy="15875"/>
            </a:xfrm>
            <a:custGeom>
              <a:avLst/>
              <a:gdLst/>
              <a:ahLst/>
              <a:cxnLst>
                <a:cxn ang="0">
                  <a:pos x="0" y="0"/>
                </a:cxn>
                <a:cxn ang="0">
                  <a:pos x="10" y="17"/>
                </a:cxn>
                <a:cxn ang="0">
                  <a:pos x="37" y="105"/>
                </a:cxn>
                <a:cxn ang="0">
                  <a:pos x="55" y="135"/>
                </a:cxn>
                <a:cxn ang="0">
                  <a:pos x="93" y="149"/>
                </a:cxn>
                <a:cxn ang="0">
                  <a:pos x="117" y="204"/>
                </a:cxn>
                <a:cxn ang="0">
                  <a:pos x="117" y="232"/>
                </a:cxn>
                <a:cxn ang="0">
                  <a:pos x="96" y="191"/>
                </a:cxn>
                <a:cxn ang="0">
                  <a:pos x="52" y="162"/>
                </a:cxn>
                <a:cxn ang="0">
                  <a:pos x="35" y="118"/>
                </a:cxn>
                <a:cxn ang="0">
                  <a:pos x="24" y="44"/>
                </a:cxn>
                <a:cxn ang="0">
                  <a:pos x="0" y="0"/>
                </a:cxn>
              </a:cxnLst>
              <a:rect l="0" t="0" r="r" b="b"/>
              <a:pathLst>
                <a:path w="117" h="232">
                  <a:moveTo>
                    <a:pt x="0" y="0"/>
                  </a:moveTo>
                  <a:lnTo>
                    <a:pt x="10" y="17"/>
                  </a:lnTo>
                  <a:lnTo>
                    <a:pt x="37" y="105"/>
                  </a:lnTo>
                  <a:lnTo>
                    <a:pt x="55" y="135"/>
                  </a:lnTo>
                  <a:lnTo>
                    <a:pt x="93" y="149"/>
                  </a:lnTo>
                  <a:lnTo>
                    <a:pt x="117" y="204"/>
                  </a:lnTo>
                  <a:lnTo>
                    <a:pt x="117" y="232"/>
                  </a:lnTo>
                  <a:lnTo>
                    <a:pt x="96" y="191"/>
                  </a:lnTo>
                  <a:lnTo>
                    <a:pt x="52" y="162"/>
                  </a:lnTo>
                  <a:lnTo>
                    <a:pt x="35" y="118"/>
                  </a:lnTo>
                  <a:lnTo>
                    <a:pt x="24" y="44"/>
                  </a:lnTo>
                  <a:lnTo>
                    <a:pt x="0"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50" name="Freeform 322"/>
            <p:cNvSpPr>
              <a:spLocks noChangeAspect="1"/>
            </p:cNvSpPr>
            <p:nvPr/>
          </p:nvSpPr>
          <p:spPr bwMode="gray">
            <a:xfrm rot="21085610">
              <a:off x="3464716" y="3269009"/>
              <a:ext cx="4763" cy="14288"/>
            </a:xfrm>
            <a:custGeom>
              <a:avLst/>
              <a:gdLst/>
              <a:ahLst/>
              <a:cxnLst>
                <a:cxn ang="0">
                  <a:pos x="101" y="73"/>
                </a:cxn>
                <a:cxn ang="0">
                  <a:pos x="101" y="48"/>
                </a:cxn>
                <a:cxn ang="0">
                  <a:pos x="101" y="56"/>
                </a:cxn>
                <a:cxn ang="0">
                  <a:pos x="90" y="48"/>
                </a:cxn>
                <a:cxn ang="0">
                  <a:pos x="31" y="48"/>
                </a:cxn>
                <a:cxn ang="0">
                  <a:pos x="4" y="27"/>
                </a:cxn>
                <a:cxn ang="0">
                  <a:pos x="0" y="14"/>
                </a:cxn>
                <a:cxn ang="0">
                  <a:pos x="11" y="0"/>
                </a:cxn>
                <a:cxn ang="0">
                  <a:pos x="46" y="14"/>
                </a:cxn>
                <a:cxn ang="0">
                  <a:pos x="83" y="41"/>
                </a:cxn>
                <a:cxn ang="0">
                  <a:pos x="125" y="41"/>
                </a:cxn>
                <a:cxn ang="0">
                  <a:pos x="145" y="61"/>
                </a:cxn>
                <a:cxn ang="0">
                  <a:pos x="149" y="113"/>
                </a:cxn>
                <a:cxn ang="0">
                  <a:pos x="103" y="172"/>
                </a:cxn>
                <a:cxn ang="0">
                  <a:pos x="49" y="218"/>
                </a:cxn>
                <a:cxn ang="0">
                  <a:pos x="35" y="182"/>
                </a:cxn>
                <a:cxn ang="0">
                  <a:pos x="111" y="100"/>
                </a:cxn>
                <a:cxn ang="0">
                  <a:pos x="101" y="73"/>
                </a:cxn>
              </a:cxnLst>
              <a:rect l="0" t="0" r="r" b="b"/>
              <a:pathLst>
                <a:path w="149" h="218">
                  <a:moveTo>
                    <a:pt x="101" y="73"/>
                  </a:moveTo>
                  <a:lnTo>
                    <a:pt x="101" y="48"/>
                  </a:lnTo>
                  <a:lnTo>
                    <a:pt x="101" y="56"/>
                  </a:lnTo>
                  <a:lnTo>
                    <a:pt x="90" y="48"/>
                  </a:lnTo>
                  <a:lnTo>
                    <a:pt x="31" y="48"/>
                  </a:lnTo>
                  <a:lnTo>
                    <a:pt x="4" y="27"/>
                  </a:lnTo>
                  <a:lnTo>
                    <a:pt x="0" y="14"/>
                  </a:lnTo>
                  <a:lnTo>
                    <a:pt x="11" y="0"/>
                  </a:lnTo>
                  <a:lnTo>
                    <a:pt x="46" y="14"/>
                  </a:lnTo>
                  <a:lnTo>
                    <a:pt x="83" y="41"/>
                  </a:lnTo>
                  <a:lnTo>
                    <a:pt x="125" y="41"/>
                  </a:lnTo>
                  <a:lnTo>
                    <a:pt x="145" y="61"/>
                  </a:lnTo>
                  <a:lnTo>
                    <a:pt x="149" y="113"/>
                  </a:lnTo>
                  <a:lnTo>
                    <a:pt x="103" y="172"/>
                  </a:lnTo>
                  <a:lnTo>
                    <a:pt x="49" y="218"/>
                  </a:lnTo>
                  <a:lnTo>
                    <a:pt x="35" y="182"/>
                  </a:lnTo>
                  <a:lnTo>
                    <a:pt x="111" y="100"/>
                  </a:lnTo>
                  <a:lnTo>
                    <a:pt x="101" y="7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51" name="Freeform 323"/>
            <p:cNvSpPr>
              <a:spLocks noChangeAspect="1"/>
            </p:cNvSpPr>
            <p:nvPr/>
          </p:nvSpPr>
          <p:spPr bwMode="gray">
            <a:xfrm rot="21085610">
              <a:off x="3477417" y="3278534"/>
              <a:ext cx="4763" cy="1588"/>
            </a:xfrm>
            <a:custGeom>
              <a:avLst/>
              <a:gdLst/>
              <a:ahLst/>
              <a:cxnLst>
                <a:cxn ang="0">
                  <a:pos x="118" y="34"/>
                </a:cxn>
                <a:cxn ang="0">
                  <a:pos x="100" y="3"/>
                </a:cxn>
                <a:cxn ang="0">
                  <a:pos x="56" y="0"/>
                </a:cxn>
                <a:cxn ang="0">
                  <a:pos x="0" y="24"/>
                </a:cxn>
                <a:cxn ang="0">
                  <a:pos x="52" y="17"/>
                </a:cxn>
                <a:cxn ang="0">
                  <a:pos x="90" y="34"/>
                </a:cxn>
                <a:cxn ang="0">
                  <a:pos x="118" y="34"/>
                </a:cxn>
              </a:cxnLst>
              <a:rect l="0" t="0" r="r" b="b"/>
              <a:pathLst>
                <a:path w="118" h="34">
                  <a:moveTo>
                    <a:pt x="118" y="34"/>
                  </a:moveTo>
                  <a:lnTo>
                    <a:pt x="100" y="3"/>
                  </a:lnTo>
                  <a:lnTo>
                    <a:pt x="56" y="0"/>
                  </a:lnTo>
                  <a:lnTo>
                    <a:pt x="0" y="24"/>
                  </a:lnTo>
                  <a:lnTo>
                    <a:pt x="52" y="17"/>
                  </a:lnTo>
                  <a:lnTo>
                    <a:pt x="90" y="34"/>
                  </a:lnTo>
                  <a:lnTo>
                    <a:pt x="118" y="3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52" name="Freeform 324"/>
            <p:cNvSpPr>
              <a:spLocks noChangeAspect="1"/>
            </p:cNvSpPr>
            <p:nvPr/>
          </p:nvSpPr>
          <p:spPr bwMode="gray">
            <a:xfrm rot="21085610">
              <a:off x="3488530" y="3284884"/>
              <a:ext cx="9525" cy="6350"/>
            </a:xfrm>
            <a:custGeom>
              <a:avLst/>
              <a:gdLst/>
              <a:ahLst/>
              <a:cxnLst>
                <a:cxn ang="0">
                  <a:pos x="48" y="19"/>
                </a:cxn>
                <a:cxn ang="0">
                  <a:pos x="86" y="0"/>
                </a:cxn>
                <a:cxn ang="0">
                  <a:pos x="114" y="25"/>
                </a:cxn>
                <a:cxn ang="0">
                  <a:pos x="192" y="61"/>
                </a:cxn>
                <a:cxn ang="0">
                  <a:pos x="241" y="92"/>
                </a:cxn>
                <a:cxn ang="0">
                  <a:pos x="248" y="103"/>
                </a:cxn>
                <a:cxn ang="0">
                  <a:pos x="210" y="98"/>
                </a:cxn>
                <a:cxn ang="0">
                  <a:pos x="148" y="52"/>
                </a:cxn>
                <a:cxn ang="0">
                  <a:pos x="100" y="34"/>
                </a:cxn>
                <a:cxn ang="0">
                  <a:pos x="41" y="73"/>
                </a:cxn>
                <a:cxn ang="0">
                  <a:pos x="0" y="76"/>
                </a:cxn>
                <a:cxn ang="0">
                  <a:pos x="13" y="48"/>
                </a:cxn>
                <a:cxn ang="0">
                  <a:pos x="48" y="19"/>
                </a:cxn>
              </a:cxnLst>
              <a:rect l="0" t="0" r="r" b="b"/>
              <a:pathLst>
                <a:path w="248" h="103">
                  <a:moveTo>
                    <a:pt x="48" y="19"/>
                  </a:moveTo>
                  <a:lnTo>
                    <a:pt x="86" y="0"/>
                  </a:lnTo>
                  <a:lnTo>
                    <a:pt x="114" y="25"/>
                  </a:lnTo>
                  <a:lnTo>
                    <a:pt x="192" y="61"/>
                  </a:lnTo>
                  <a:lnTo>
                    <a:pt x="241" y="92"/>
                  </a:lnTo>
                  <a:lnTo>
                    <a:pt x="248" y="103"/>
                  </a:lnTo>
                  <a:lnTo>
                    <a:pt x="210" y="98"/>
                  </a:lnTo>
                  <a:lnTo>
                    <a:pt x="148" y="52"/>
                  </a:lnTo>
                  <a:lnTo>
                    <a:pt x="100" y="34"/>
                  </a:lnTo>
                  <a:lnTo>
                    <a:pt x="41" y="73"/>
                  </a:lnTo>
                  <a:lnTo>
                    <a:pt x="0" y="76"/>
                  </a:lnTo>
                  <a:lnTo>
                    <a:pt x="13" y="48"/>
                  </a:lnTo>
                  <a:lnTo>
                    <a:pt x="48" y="1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53" name="Freeform 325"/>
            <p:cNvSpPr>
              <a:spLocks noChangeAspect="1"/>
            </p:cNvSpPr>
            <p:nvPr/>
          </p:nvSpPr>
          <p:spPr bwMode="gray">
            <a:xfrm rot="21085610">
              <a:off x="3475829" y="3302347"/>
              <a:ext cx="6350" cy="9525"/>
            </a:xfrm>
            <a:custGeom>
              <a:avLst/>
              <a:gdLst/>
              <a:ahLst/>
              <a:cxnLst>
                <a:cxn ang="0">
                  <a:pos x="192" y="0"/>
                </a:cxn>
                <a:cxn ang="0">
                  <a:pos x="184" y="0"/>
                </a:cxn>
                <a:cxn ang="0">
                  <a:pos x="184" y="56"/>
                </a:cxn>
                <a:cxn ang="0">
                  <a:pos x="175" y="104"/>
                </a:cxn>
                <a:cxn ang="0">
                  <a:pos x="132" y="132"/>
                </a:cxn>
                <a:cxn ang="0">
                  <a:pos x="0" y="146"/>
                </a:cxn>
                <a:cxn ang="0">
                  <a:pos x="4" y="76"/>
                </a:cxn>
                <a:cxn ang="0">
                  <a:pos x="62" y="49"/>
                </a:cxn>
                <a:cxn ang="0">
                  <a:pos x="114" y="67"/>
                </a:cxn>
                <a:cxn ang="0">
                  <a:pos x="192" y="0"/>
                </a:cxn>
              </a:cxnLst>
              <a:rect l="0" t="0" r="r" b="b"/>
              <a:pathLst>
                <a:path w="192" h="146">
                  <a:moveTo>
                    <a:pt x="192" y="0"/>
                  </a:moveTo>
                  <a:lnTo>
                    <a:pt x="184" y="0"/>
                  </a:lnTo>
                  <a:lnTo>
                    <a:pt x="184" y="56"/>
                  </a:lnTo>
                  <a:lnTo>
                    <a:pt x="175" y="104"/>
                  </a:lnTo>
                  <a:lnTo>
                    <a:pt x="132" y="132"/>
                  </a:lnTo>
                  <a:lnTo>
                    <a:pt x="0" y="146"/>
                  </a:lnTo>
                  <a:lnTo>
                    <a:pt x="4" y="76"/>
                  </a:lnTo>
                  <a:lnTo>
                    <a:pt x="62" y="49"/>
                  </a:lnTo>
                  <a:lnTo>
                    <a:pt x="114" y="67"/>
                  </a:lnTo>
                  <a:lnTo>
                    <a:pt x="192"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54" name="Freeform 326"/>
            <p:cNvSpPr>
              <a:spLocks noChangeAspect="1"/>
            </p:cNvSpPr>
            <p:nvPr/>
          </p:nvSpPr>
          <p:spPr bwMode="gray">
            <a:xfrm rot="21085610">
              <a:off x="3418680" y="3243608"/>
              <a:ext cx="3175" cy="4763"/>
            </a:xfrm>
            <a:custGeom>
              <a:avLst/>
              <a:gdLst/>
              <a:ahLst/>
              <a:cxnLst>
                <a:cxn ang="0">
                  <a:pos x="42" y="0"/>
                </a:cxn>
                <a:cxn ang="0">
                  <a:pos x="0" y="55"/>
                </a:cxn>
                <a:cxn ang="0">
                  <a:pos x="4" y="80"/>
                </a:cxn>
                <a:cxn ang="0">
                  <a:pos x="42" y="57"/>
                </a:cxn>
                <a:cxn ang="0">
                  <a:pos x="70" y="9"/>
                </a:cxn>
                <a:cxn ang="0">
                  <a:pos x="42" y="0"/>
                </a:cxn>
              </a:cxnLst>
              <a:rect l="0" t="0" r="r" b="b"/>
              <a:pathLst>
                <a:path w="70" h="80">
                  <a:moveTo>
                    <a:pt x="42" y="0"/>
                  </a:moveTo>
                  <a:lnTo>
                    <a:pt x="0" y="55"/>
                  </a:lnTo>
                  <a:lnTo>
                    <a:pt x="4" y="80"/>
                  </a:lnTo>
                  <a:lnTo>
                    <a:pt x="42" y="57"/>
                  </a:lnTo>
                  <a:lnTo>
                    <a:pt x="70" y="9"/>
                  </a:lnTo>
                  <a:lnTo>
                    <a:pt x="42"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55" name="Freeform 327"/>
            <p:cNvSpPr>
              <a:spLocks noChangeAspect="1"/>
            </p:cNvSpPr>
            <p:nvPr/>
          </p:nvSpPr>
          <p:spPr bwMode="gray">
            <a:xfrm rot="21085610">
              <a:off x="3386929" y="3227733"/>
              <a:ext cx="1588" cy="6350"/>
            </a:xfrm>
            <a:custGeom>
              <a:avLst/>
              <a:gdLst/>
              <a:ahLst/>
              <a:cxnLst>
                <a:cxn ang="0">
                  <a:pos x="72" y="7"/>
                </a:cxn>
                <a:cxn ang="0">
                  <a:pos x="57" y="0"/>
                </a:cxn>
                <a:cxn ang="0">
                  <a:pos x="0" y="79"/>
                </a:cxn>
                <a:cxn ang="0">
                  <a:pos x="7" y="93"/>
                </a:cxn>
                <a:cxn ang="0">
                  <a:pos x="72" y="7"/>
                </a:cxn>
              </a:cxnLst>
              <a:rect l="0" t="0" r="r" b="b"/>
              <a:pathLst>
                <a:path w="72" h="93">
                  <a:moveTo>
                    <a:pt x="72" y="7"/>
                  </a:moveTo>
                  <a:lnTo>
                    <a:pt x="57" y="0"/>
                  </a:lnTo>
                  <a:lnTo>
                    <a:pt x="0" y="79"/>
                  </a:lnTo>
                  <a:lnTo>
                    <a:pt x="7" y="93"/>
                  </a:lnTo>
                  <a:lnTo>
                    <a:pt x="72" y="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56" name="Freeform 328"/>
            <p:cNvSpPr>
              <a:spLocks noChangeAspect="1"/>
            </p:cNvSpPr>
            <p:nvPr/>
          </p:nvSpPr>
          <p:spPr bwMode="gray">
            <a:xfrm rot="21085610">
              <a:off x="3383754" y="3235672"/>
              <a:ext cx="3175" cy="3175"/>
            </a:xfrm>
            <a:custGeom>
              <a:avLst/>
              <a:gdLst/>
              <a:ahLst/>
              <a:cxnLst>
                <a:cxn ang="0">
                  <a:pos x="56" y="0"/>
                </a:cxn>
                <a:cxn ang="0">
                  <a:pos x="0" y="26"/>
                </a:cxn>
                <a:cxn ang="0">
                  <a:pos x="4" y="36"/>
                </a:cxn>
                <a:cxn ang="0">
                  <a:pos x="53" y="18"/>
                </a:cxn>
                <a:cxn ang="0">
                  <a:pos x="56" y="0"/>
                </a:cxn>
              </a:cxnLst>
              <a:rect l="0" t="0" r="r" b="b"/>
              <a:pathLst>
                <a:path w="56" h="36">
                  <a:moveTo>
                    <a:pt x="56" y="0"/>
                  </a:moveTo>
                  <a:lnTo>
                    <a:pt x="0" y="26"/>
                  </a:lnTo>
                  <a:lnTo>
                    <a:pt x="4" y="36"/>
                  </a:lnTo>
                  <a:lnTo>
                    <a:pt x="53" y="18"/>
                  </a:lnTo>
                  <a:lnTo>
                    <a:pt x="56"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57" name="Freeform 329"/>
            <p:cNvSpPr>
              <a:spLocks noChangeAspect="1"/>
            </p:cNvSpPr>
            <p:nvPr/>
          </p:nvSpPr>
          <p:spPr bwMode="gray">
            <a:xfrm rot="21085610">
              <a:off x="3374229" y="3238846"/>
              <a:ext cx="6350" cy="6350"/>
            </a:xfrm>
            <a:custGeom>
              <a:avLst/>
              <a:gdLst/>
              <a:ahLst/>
              <a:cxnLst>
                <a:cxn ang="0">
                  <a:pos x="152" y="40"/>
                </a:cxn>
                <a:cxn ang="0">
                  <a:pos x="109" y="36"/>
                </a:cxn>
                <a:cxn ang="0">
                  <a:pos x="44" y="67"/>
                </a:cxn>
                <a:cxn ang="0">
                  <a:pos x="0" y="70"/>
                </a:cxn>
                <a:cxn ang="0">
                  <a:pos x="9" y="50"/>
                </a:cxn>
                <a:cxn ang="0">
                  <a:pos x="59" y="36"/>
                </a:cxn>
                <a:cxn ang="0">
                  <a:pos x="119" y="0"/>
                </a:cxn>
                <a:cxn ang="0">
                  <a:pos x="155" y="9"/>
                </a:cxn>
                <a:cxn ang="0">
                  <a:pos x="152" y="40"/>
                </a:cxn>
              </a:cxnLst>
              <a:rect l="0" t="0" r="r" b="b"/>
              <a:pathLst>
                <a:path w="155" h="70">
                  <a:moveTo>
                    <a:pt x="152" y="40"/>
                  </a:moveTo>
                  <a:lnTo>
                    <a:pt x="109" y="36"/>
                  </a:lnTo>
                  <a:lnTo>
                    <a:pt x="44" y="67"/>
                  </a:lnTo>
                  <a:lnTo>
                    <a:pt x="0" y="70"/>
                  </a:lnTo>
                  <a:lnTo>
                    <a:pt x="9" y="50"/>
                  </a:lnTo>
                  <a:lnTo>
                    <a:pt x="59" y="36"/>
                  </a:lnTo>
                  <a:lnTo>
                    <a:pt x="119" y="0"/>
                  </a:lnTo>
                  <a:lnTo>
                    <a:pt x="155" y="9"/>
                  </a:lnTo>
                  <a:lnTo>
                    <a:pt x="152" y="4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58" name="Freeform 330"/>
            <p:cNvSpPr>
              <a:spLocks noChangeAspect="1"/>
            </p:cNvSpPr>
            <p:nvPr/>
          </p:nvSpPr>
          <p:spPr bwMode="gray">
            <a:xfrm rot="20552049">
              <a:off x="3417092" y="3375372"/>
              <a:ext cx="23813" cy="17463"/>
            </a:xfrm>
            <a:custGeom>
              <a:avLst/>
              <a:gdLst/>
              <a:ahLst/>
              <a:cxnLst>
                <a:cxn ang="0">
                  <a:pos x="373" y="31"/>
                </a:cxn>
                <a:cxn ang="0">
                  <a:pos x="397" y="35"/>
                </a:cxn>
                <a:cxn ang="0">
                  <a:pos x="450" y="63"/>
                </a:cxn>
                <a:cxn ang="0">
                  <a:pos x="483" y="101"/>
                </a:cxn>
                <a:cxn ang="0">
                  <a:pos x="600" y="104"/>
                </a:cxn>
                <a:cxn ang="0">
                  <a:pos x="642" y="212"/>
                </a:cxn>
                <a:cxn ang="0">
                  <a:pos x="588" y="222"/>
                </a:cxn>
                <a:cxn ang="0">
                  <a:pos x="504" y="197"/>
                </a:cxn>
                <a:cxn ang="0">
                  <a:pos x="442" y="222"/>
                </a:cxn>
                <a:cxn ang="0">
                  <a:pos x="390" y="222"/>
                </a:cxn>
                <a:cxn ang="0">
                  <a:pos x="369" y="260"/>
                </a:cxn>
                <a:cxn ang="0">
                  <a:pos x="304" y="256"/>
                </a:cxn>
                <a:cxn ang="0">
                  <a:pos x="273" y="228"/>
                </a:cxn>
                <a:cxn ang="0">
                  <a:pos x="194" y="222"/>
                </a:cxn>
                <a:cxn ang="0">
                  <a:pos x="101" y="135"/>
                </a:cxn>
                <a:cxn ang="0">
                  <a:pos x="39" y="115"/>
                </a:cxn>
                <a:cxn ang="0">
                  <a:pos x="0" y="73"/>
                </a:cxn>
                <a:cxn ang="0">
                  <a:pos x="10" y="44"/>
                </a:cxn>
                <a:cxn ang="0">
                  <a:pos x="138" y="0"/>
                </a:cxn>
                <a:cxn ang="0">
                  <a:pos x="194" y="4"/>
                </a:cxn>
                <a:cxn ang="0">
                  <a:pos x="279" y="21"/>
                </a:cxn>
                <a:cxn ang="0">
                  <a:pos x="373" y="31"/>
                </a:cxn>
              </a:cxnLst>
              <a:rect l="0" t="0" r="r" b="b"/>
              <a:pathLst>
                <a:path w="642" h="260">
                  <a:moveTo>
                    <a:pt x="373" y="31"/>
                  </a:moveTo>
                  <a:lnTo>
                    <a:pt x="397" y="35"/>
                  </a:lnTo>
                  <a:lnTo>
                    <a:pt x="450" y="63"/>
                  </a:lnTo>
                  <a:lnTo>
                    <a:pt x="483" y="101"/>
                  </a:lnTo>
                  <a:lnTo>
                    <a:pt x="600" y="104"/>
                  </a:lnTo>
                  <a:lnTo>
                    <a:pt x="642" y="212"/>
                  </a:lnTo>
                  <a:lnTo>
                    <a:pt x="588" y="222"/>
                  </a:lnTo>
                  <a:lnTo>
                    <a:pt x="504" y="197"/>
                  </a:lnTo>
                  <a:lnTo>
                    <a:pt x="442" y="222"/>
                  </a:lnTo>
                  <a:lnTo>
                    <a:pt x="390" y="222"/>
                  </a:lnTo>
                  <a:lnTo>
                    <a:pt x="369" y="260"/>
                  </a:lnTo>
                  <a:lnTo>
                    <a:pt x="304" y="256"/>
                  </a:lnTo>
                  <a:lnTo>
                    <a:pt x="273" y="228"/>
                  </a:lnTo>
                  <a:lnTo>
                    <a:pt x="194" y="222"/>
                  </a:lnTo>
                  <a:lnTo>
                    <a:pt x="101" y="135"/>
                  </a:lnTo>
                  <a:lnTo>
                    <a:pt x="39" y="115"/>
                  </a:lnTo>
                  <a:lnTo>
                    <a:pt x="0" y="73"/>
                  </a:lnTo>
                  <a:lnTo>
                    <a:pt x="10" y="44"/>
                  </a:lnTo>
                  <a:lnTo>
                    <a:pt x="138" y="0"/>
                  </a:lnTo>
                  <a:lnTo>
                    <a:pt x="194" y="4"/>
                  </a:lnTo>
                  <a:lnTo>
                    <a:pt x="279" y="21"/>
                  </a:lnTo>
                  <a:lnTo>
                    <a:pt x="373" y="31"/>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59" name="Freeform 331"/>
            <p:cNvSpPr>
              <a:spLocks noChangeAspect="1"/>
            </p:cNvSpPr>
            <p:nvPr/>
          </p:nvSpPr>
          <p:spPr bwMode="gray">
            <a:xfrm rot="20552049">
              <a:off x="3482179" y="3318222"/>
              <a:ext cx="38100" cy="52388"/>
            </a:xfrm>
            <a:custGeom>
              <a:avLst/>
              <a:gdLst/>
              <a:ahLst/>
              <a:cxnLst>
                <a:cxn ang="0">
                  <a:pos x="25" y="17"/>
                </a:cxn>
                <a:cxn ang="0">
                  <a:pos x="119" y="0"/>
                </a:cxn>
                <a:cxn ang="0">
                  <a:pos x="338" y="4"/>
                </a:cxn>
                <a:cxn ang="0">
                  <a:pos x="512" y="76"/>
                </a:cxn>
                <a:cxn ang="0">
                  <a:pos x="614" y="110"/>
                </a:cxn>
                <a:cxn ang="0">
                  <a:pos x="643" y="181"/>
                </a:cxn>
                <a:cxn ang="0">
                  <a:pos x="805" y="193"/>
                </a:cxn>
                <a:cxn ang="0">
                  <a:pos x="825" y="227"/>
                </a:cxn>
                <a:cxn ang="0">
                  <a:pos x="728" y="244"/>
                </a:cxn>
                <a:cxn ang="0">
                  <a:pos x="796" y="294"/>
                </a:cxn>
                <a:cxn ang="0">
                  <a:pos x="977" y="336"/>
                </a:cxn>
                <a:cxn ang="0">
                  <a:pos x="1076" y="404"/>
                </a:cxn>
                <a:cxn ang="0">
                  <a:pos x="1080" y="462"/>
                </a:cxn>
                <a:cxn ang="0">
                  <a:pos x="1012" y="547"/>
                </a:cxn>
                <a:cxn ang="0">
                  <a:pos x="940" y="522"/>
                </a:cxn>
                <a:cxn ang="0">
                  <a:pos x="706" y="483"/>
                </a:cxn>
                <a:cxn ang="0">
                  <a:pos x="551" y="522"/>
                </a:cxn>
                <a:cxn ang="0">
                  <a:pos x="525" y="556"/>
                </a:cxn>
                <a:cxn ang="0">
                  <a:pos x="406" y="589"/>
                </a:cxn>
                <a:cxn ang="0">
                  <a:pos x="369" y="509"/>
                </a:cxn>
                <a:cxn ang="0">
                  <a:pos x="292" y="517"/>
                </a:cxn>
                <a:cxn ang="0">
                  <a:pos x="233" y="584"/>
                </a:cxn>
                <a:cxn ang="0">
                  <a:pos x="174" y="673"/>
                </a:cxn>
                <a:cxn ang="0">
                  <a:pos x="110" y="745"/>
                </a:cxn>
                <a:cxn ang="0">
                  <a:pos x="85" y="733"/>
                </a:cxn>
                <a:cxn ang="0">
                  <a:pos x="42" y="694"/>
                </a:cxn>
                <a:cxn ang="0">
                  <a:pos x="25" y="619"/>
                </a:cxn>
                <a:cxn ang="0">
                  <a:pos x="42" y="531"/>
                </a:cxn>
                <a:cxn ang="0">
                  <a:pos x="0" y="458"/>
                </a:cxn>
                <a:cxn ang="0">
                  <a:pos x="8" y="417"/>
                </a:cxn>
                <a:cxn ang="0">
                  <a:pos x="46" y="290"/>
                </a:cxn>
                <a:cxn ang="0">
                  <a:pos x="77" y="235"/>
                </a:cxn>
                <a:cxn ang="0">
                  <a:pos x="59" y="127"/>
                </a:cxn>
                <a:cxn ang="0">
                  <a:pos x="12" y="38"/>
                </a:cxn>
              </a:cxnLst>
              <a:rect l="0" t="0" r="r" b="b"/>
              <a:pathLst>
                <a:path w="1080" h="745">
                  <a:moveTo>
                    <a:pt x="17" y="29"/>
                  </a:moveTo>
                  <a:lnTo>
                    <a:pt x="25" y="17"/>
                  </a:lnTo>
                  <a:lnTo>
                    <a:pt x="51" y="0"/>
                  </a:lnTo>
                  <a:lnTo>
                    <a:pt x="119" y="0"/>
                  </a:lnTo>
                  <a:lnTo>
                    <a:pt x="183" y="9"/>
                  </a:lnTo>
                  <a:lnTo>
                    <a:pt x="338" y="4"/>
                  </a:lnTo>
                  <a:lnTo>
                    <a:pt x="423" y="29"/>
                  </a:lnTo>
                  <a:lnTo>
                    <a:pt x="512" y="76"/>
                  </a:lnTo>
                  <a:lnTo>
                    <a:pt x="589" y="84"/>
                  </a:lnTo>
                  <a:lnTo>
                    <a:pt x="614" y="110"/>
                  </a:lnTo>
                  <a:lnTo>
                    <a:pt x="632" y="169"/>
                  </a:lnTo>
                  <a:lnTo>
                    <a:pt x="643" y="181"/>
                  </a:lnTo>
                  <a:lnTo>
                    <a:pt x="699" y="193"/>
                  </a:lnTo>
                  <a:lnTo>
                    <a:pt x="805" y="193"/>
                  </a:lnTo>
                  <a:lnTo>
                    <a:pt x="822" y="203"/>
                  </a:lnTo>
                  <a:lnTo>
                    <a:pt x="825" y="227"/>
                  </a:lnTo>
                  <a:lnTo>
                    <a:pt x="779" y="244"/>
                  </a:lnTo>
                  <a:lnTo>
                    <a:pt x="728" y="244"/>
                  </a:lnTo>
                  <a:lnTo>
                    <a:pt x="723" y="269"/>
                  </a:lnTo>
                  <a:lnTo>
                    <a:pt x="796" y="294"/>
                  </a:lnTo>
                  <a:lnTo>
                    <a:pt x="944" y="298"/>
                  </a:lnTo>
                  <a:lnTo>
                    <a:pt x="977" y="336"/>
                  </a:lnTo>
                  <a:lnTo>
                    <a:pt x="1038" y="387"/>
                  </a:lnTo>
                  <a:lnTo>
                    <a:pt x="1076" y="404"/>
                  </a:lnTo>
                  <a:lnTo>
                    <a:pt x="1080" y="417"/>
                  </a:lnTo>
                  <a:lnTo>
                    <a:pt x="1080" y="462"/>
                  </a:lnTo>
                  <a:lnTo>
                    <a:pt x="1055" y="509"/>
                  </a:lnTo>
                  <a:lnTo>
                    <a:pt x="1012" y="547"/>
                  </a:lnTo>
                  <a:lnTo>
                    <a:pt x="969" y="547"/>
                  </a:lnTo>
                  <a:lnTo>
                    <a:pt x="940" y="522"/>
                  </a:lnTo>
                  <a:lnTo>
                    <a:pt x="872" y="496"/>
                  </a:lnTo>
                  <a:lnTo>
                    <a:pt x="706" y="483"/>
                  </a:lnTo>
                  <a:lnTo>
                    <a:pt x="589" y="500"/>
                  </a:lnTo>
                  <a:lnTo>
                    <a:pt x="551" y="522"/>
                  </a:lnTo>
                  <a:lnTo>
                    <a:pt x="538" y="547"/>
                  </a:lnTo>
                  <a:lnTo>
                    <a:pt x="525" y="556"/>
                  </a:lnTo>
                  <a:lnTo>
                    <a:pt x="474" y="576"/>
                  </a:lnTo>
                  <a:lnTo>
                    <a:pt x="406" y="589"/>
                  </a:lnTo>
                  <a:lnTo>
                    <a:pt x="369" y="522"/>
                  </a:lnTo>
                  <a:lnTo>
                    <a:pt x="369" y="509"/>
                  </a:lnTo>
                  <a:lnTo>
                    <a:pt x="322" y="504"/>
                  </a:lnTo>
                  <a:lnTo>
                    <a:pt x="292" y="517"/>
                  </a:lnTo>
                  <a:lnTo>
                    <a:pt x="271" y="534"/>
                  </a:lnTo>
                  <a:lnTo>
                    <a:pt x="233" y="584"/>
                  </a:lnTo>
                  <a:lnTo>
                    <a:pt x="191" y="656"/>
                  </a:lnTo>
                  <a:lnTo>
                    <a:pt x="174" y="673"/>
                  </a:lnTo>
                  <a:lnTo>
                    <a:pt x="170" y="690"/>
                  </a:lnTo>
                  <a:lnTo>
                    <a:pt x="110" y="745"/>
                  </a:lnTo>
                  <a:lnTo>
                    <a:pt x="88" y="745"/>
                  </a:lnTo>
                  <a:lnTo>
                    <a:pt x="85" y="733"/>
                  </a:lnTo>
                  <a:lnTo>
                    <a:pt x="46" y="702"/>
                  </a:lnTo>
                  <a:lnTo>
                    <a:pt x="42" y="694"/>
                  </a:lnTo>
                  <a:lnTo>
                    <a:pt x="42" y="640"/>
                  </a:lnTo>
                  <a:lnTo>
                    <a:pt x="25" y="619"/>
                  </a:lnTo>
                  <a:lnTo>
                    <a:pt x="34" y="606"/>
                  </a:lnTo>
                  <a:lnTo>
                    <a:pt x="42" y="531"/>
                  </a:lnTo>
                  <a:lnTo>
                    <a:pt x="34" y="496"/>
                  </a:lnTo>
                  <a:lnTo>
                    <a:pt x="0" y="458"/>
                  </a:lnTo>
                  <a:lnTo>
                    <a:pt x="0" y="434"/>
                  </a:lnTo>
                  <a:lnTo>
                    <a:pt x="8" y="417"/>
                  </a:lnTo>
                  <a:lnTo>
                    <a:pt x="51" y="384"/>
                  </a:lnTo>
                  <a:lnTo>
                    <a:pt x="46" y="290"/>
                  </a:lnTo>
                  <a:lnTo>
                    <a:pt x="68" y="269"/>
                  </a:lnTo>
                  <a:lnTo>
                    <a:pt x="77" y="235"/>
                  </a:lnTo>
                  <a:lnTo>
                    <a:pt x="51" y="206"/>
                  </a:lnTo>
                  <a:lnTo>
                    <a:pt x="59" y="127"/>
                  </a:lnTo>
                  <a:lnTo>
                    <a:pt x="46" y="80"/>
                  </a:lnTo>
                  <a:lnTo>
                    <a:pt x="12" y="38"/>
                  </a:lnTo>
                  <a:lnTo>
                    <a:pt x="17" y="2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60" name="Freeform 332"/>
            <p:cNvSpPr>
              <a:spLocks noChangeAspect="1"/>
            </p:cNvSpPr>
            <p:nvPr/>
          </p:nvSpPr>
          <p:spPr bwMode="gray">
            <a:xfrm rot="20552049">
              <a:off x="3596480" y="3349971"/>
              <a:ext cx="1588" cy="1588"/>
            </a:xfrm>
            <a:custGeom>
              <a:avLst/>
              <a:gdLst/>
              <a:ahLst/>
              <a:cxnLst>
                <a:cxn ang="0">
                  <a:pos x="18" y="0"/>
                </a:cxn>
                <a:cxn ang="0">
                  <a:pos x="11" y="4"/>
                </a:cxn>
                <a:cxn ang="0">
                  <a:pos x="0" y="28"/>
                </a:cxn>
                <a:cxn ang="0">
                  <a:pos x="4" y="48"/>
                </a:cxn>
                <a:cxn ang="0">
                  <a:pos x="24" y="53"/>
                </a:cxn>
                <a:cxn ang="0">
                  <a:pos x="52" y="34"/>
                </a:cxn>
                <a:cxn ang="0">
                  <a:pos x="56" y="22"/>
                </a:cxn>
                <a:cxn ang="0">
                  <a:pos x="18" y="0"/>
                </a:cxn>
              </a:cxnLst>
              <a:rect l="0" t="0" r="r" b="b"/>
              <a:pathLst>
                <a:path w="56" h="53">
                  <a:moveTo>
                    <a:pt x="18" y="0"/>
                  </a:moveTo>
                  <a:lnTo>
                    <a:pt x="11" y="4"/>
                  </a:lnTo>
                  <a:lnTo>
                    <a:pt x="0" y="28"/>
                  </a:lnTo>
                  <a:lnTo>
                    <a:pt x="4" y="48"/>
                  </a:lnTo>
                  <a:lnTo>
                    <a:pt x="24" y="53"/>
                  </a:lnTo>
                  <a:lnTo>
                    <a:pt x="52" y="34"/>
                  </a:lnTo>
                  <a:lnTo>
                    <a:pt x="56" y="22"/>
                  </a:lnTo>
                  <a:lnTo>
                    <a:pt x="18"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61" name="Freeform 333"/>
            <p:cNvSpPr>
              <a:spLocks noChangeAspect="1"/>
            </p:cNvSpPr>
            <p:nvPr/>
          </p:nvSpPr>
          <p:spPr bwMode="gray">
            <a:xfrm rot="20552049">
              <a:off x="3618705" y="3392834"/>
              <a:ext cx="3175" cy="11113"/>
            </a:xfrm>
            <a:custGeom>
              <a:avLst/>
              <a:gdLst/>
              <a:ahLst/>
              <a:cxnLst>
                <a:cxn ang="0">
                  <a:pos x="4" y="0"/>
                </a:cxn>
                <a:cxn ang="0">
                  <a:pos x="32" y="7"/>
                </a:cxn>
                <a:cxn ang="0">
                  <a:pos x="66" y="41"/>
                </a:cxn>
                <a:cxn ang="0">
                  <a:pos x="111" y="138"/>
                </a:cxn>
                <a:cxn ang="0">
                  <a:pos x="105" y="145"/>
                </a:cxn>
                <a:cxn ang="0">
                  <a:pos x="66" y="152"/>
                </a:cxn>
                <a:cxn ang="0">
                  <a:pos x="49" y="138"/>
                </a:cxn>
                <a:cxn ang="0">
                  <a:pos x="7" y="47"/>
                </a:cxn>
                <a:cxn ang="0">
                  <a:pos x="0" y="23"/>
                </a:cxn>
                <a:cxn ang="0">
                  <a:pos x="4" y="0"/>
                </a:cxn>
              </a:cxnLst>
              <a:rect l="0" t="0" r="r" b="b"/>
              <a:pathLst>
                <a:path w="111" h="152">
                  <a:moveTo>
                    <a:pt x="4" y="0"/>
                  </a:moveTo>
                  <a:lnTo>
                    <a:pt x="32" y="7"/>
                  </a:lnTo>
                  <a:lnTo>
                    <a:pt x="66" y="41"/>
                  </a:lnTo>
                  <a:lnTo>
                    <a:pt x="111" y="138"/>
                  </a:lnTo>
                  <a:lnTo>
                    <a:pt x="105" y="145"/>
                  </a:lnTo>
                  <a:lnTo>
                    <a:pt x="66" y="152"/>
                  </a:lnTo>
                  <a:lnTo>
                    <a:pt x="49" y="138"/>
                  </a:lnTo>
                  <a:lnTo>
                    <a:pt x="7" y="47"/>
                  </a:lnTo>
                  <a:lnTo>
                    <a:pt x="0" y="23"/>
                  </a:lnTo>
                  <a:lnTo>
                    <a:pt x="4"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62" name="Freeform 334"/>
            <p:cNvSpPr>
              <a:spLocks noChangeAspect="1"/>
            </p:cNvSpPr>
            <p:nvPr/>
          </p:nvSpPr>
          <p:spPr bwMode="gray">
            <a:xfrm rot="20552049">
              <a:off x="3642516" y="3470622"/>
              <a:ext cx="3175" cy="4763"/>
            </a:xfrm>
            <a:custGeom>
              <a:avLst/>
              <a:gdLst/>
              <a:ahLst/>
              <a:cxnLst>
                <a:cxn ang="0">
                  <a:pos x="86" y="0"/>
                </a:cxn>
                <a:cxn ang="0">
                  <a:pos x="51" y="11"/>
                </a:cxn>
                <a:cxn ang="0">
                  <a:pos x="0" y="52"/>
                </a:cxn>
                <a:cxn ang="0">
                  <a:pos x="14" y="63"/>
                </a:cxn>
                <a:cxn ang="0">
                  <a:pos x="62" y="31"/>
                </a:cxn>
                <a:cxn ang="0">
                  <a:pos x="86" y="0"/>
                </a:cxn>
              </a:cxnLst>
              <a:rect l="0" t="0" r="r" b="b"/>
              <a:pathLst>
                <a:path w="86" h="63">
                  <a:moveTo>
                    <a:pt x="86" y="0"/>
                  </a:moveTo>
                  <a:lnTo>
                    <a:pt x="51" y="11"/>
                  </a:lnTo>
                  <a:lnTo>
                    <a:pt x="0" y="52"/>
                  </a:lnTo>
                  <a:lnTo>
                    <a:pt x="14" y="63"/>
                  </a:lnTo>
                  <a:lnTo>
                    <a:pt x="62" y="31"/>
                  </a:lnTo>
                  <a:lnTo>
                    <a:pt x="86"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63" name="Freeform 335"/>
            <p:cNvSpPr>
              <a:spLocks noChangeAspect="1"/>
            </p:cNvSpPr>
            <p:nvPr/>
          </p:nvSpPr>
          <p:spPr bwMode="gray">
            <a:xfrm rot="20552049">
              <a:off x="3636166" y="3484909"/>
              <a:ext cx="9525" cy="15875"/>
            </a:xfrm>
            <a:custGeom>
              <a:avLst/>
              <a:gdLst/>
              <a:ahLst/>
              <a:cxnLst>
                <a:cxn ang="0">
                  <a:pos x="287" y="26"/>
                </a:cxn>
                <a:cxn ang="0">
                  <a:pos x="267" y="48"/>
                </a:cxn>
                <a:cxn ang="0">
                  <a:pos x="259" y="106"/>
                </a:cxn>
                <a:cxn ang="0">
                  <a:pos x="267" y="144"/>
                </a:cxn>
                <a:cxn ang="0">
                  <a:pos x="276" y="153"/>
                </a:cxn>
                <a:cxn ang="0">
                  <a:pos x="270" y="204"/>
                </a:cxn>
                <a:cxn ang="0">
                  <a:pos x="233" y="232"/>
                </a:cxn>
                <a:cxn ang="0">
                  <a:pos x="173" y="245"/>
                </a:cxn>
                <a:cxn ang="0">
                  <a:pos x="3" y="245"/>
                </a:cxn>
                <a:cxn ang="0">
                  <a:pos x="0" y="232"/>
                </a:cxn>
                <a:cxn ang="0">
                  <a:pos x="102" y="194"/>
                </a:cxn>
                <a:cxn ang="0">
                  <a:pos x="118" y="156"/>
                </a:cxn>
                <a:cxn ang="0">
                  <a:pos x="128" y="85"/>
                </a:cxn>
                <a:cxn ang="0">
                  <a:pos x="123" y="72"/>
                </a:cxn>
                <a:cxn ang="0">
                  <a:pos x="111" y="65"/>
                </a:cxn>
                <a:cxn ang="0">
                  <a:pos x="77" y="60"/>
                </a:cxn>
                <a:cxn ang="0">
                  <a:pos x="72" y="34"/>
                </a:cxn>
                <a:cxn ang="0">
                  <a:pos x="85" y="34"/>
                </a:cxn>
                <a:cxn ang="0">
                  <a:pos x="111" y="23"/>
                </a:cxn>
                <a:cxn ang="0">
                  <a:pos x="207" y="18"/>
                </a:cxn>
                <a:cxn ang="0">
                  <a:pos x="276" y="0"/>
                </a:cxn>
                <a:cxn ang="0">
                  <a:pos x="287" y="0"/>
                </a:cxn>
                <a:cxn ang="0">
                  <a:pos x="287" y="26"/>
                </a:cxn>
              </a:cxnLst>
              <a:rect l="0" t="0" r="r" b="b"/>
              <a:pathLst>
                <a:path w="287" h="245">
                  <a:moveTo>
                    <a:pt x="287" y="26"/>
                  </a:moveTo>
                  <a:lnTo>
                    <a:pt x="267" y="48"/>
                  </a:lnTo>
                  <a:lnTo>
                    <a:pt x="259" y="106"/>
                  </a:lnTo>
                  <a:lnTo>
                    <a:pt x="267" y="144"/>
                  </a:lnTo>
                  <a:lnTo>
                    <a:pt x="276" y="153"/>
                  </a:lnTo>
                  <a:lnTo>
                    <a:pt x="270" y="204"/>
                  </a:lnTo>
                  <a:lnTo>
                    <a:pt x="233" y="232"/>
                  </a:lnTo>
                  <a:lnTo>
                    <a:pt x="173" y="245"/>
                  </a:lnTo>
                  <a:lnTo>
                    <a:pt x="3" y="245"/>
                  </a:lnTo>
                  <a:lnTo>
                    <a:pt x="0" y="232"/>
                  </a:lnTo>
                  <a:lnTo>
                    <a:pt x="102" y="194"/>
                  </a:lnTo>
                  <a:lnTo>
                    <a:pt x="118" y="156"/>
                  </a:lnTo>
                  <a:lnTo>
                    <a:pt x="128" y="85"/>
                  </a:lnTo>
                  <a:lnTo>
                    <a:pt x="123" y="72"/>
                  </a:lnTo>
                  <a:lnTo>
                    <a:pt x="111" y="65"/>
                  </a:lnTo>
                  <a:lnTo>
                    <a:pt x="77" y="60"/>
                  </a:lnTo>
                  <a:lnTo>
                    <a:pt x="72" y="34"/>
                  </a:lnTo>
                  <a:lnTo>
                    <a:pt x="85" y="34"/>
                  </a:lnTo>
                  <a:lnTo>
                    <a:pt x="111" y="23"/>
                  </a:lnTo>
                  <a:lnTo>
                    <a:pt x="207" y="18"/>
                  </a:lnTo>
                  <a:lnTo>
                    <a:pt x="276" y="0"/>
                  </a:lnTo>
                  <a:lnTo>
                    <a:pt x="287" y="0"/>
                  </a:lnTo>
                  <a:lnTo>
                    <a:pt x="287" y="2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64" name="Freeform 336"/>
            <p:cNvSpPr>
              <a:spLocks noChangeAspect="1"/>
            </p:cNvSpPr>
            <p:nvPr/>
          </p:nvSpPr>
          <p:spPr bwMode="gray">
            <a:xfrm rot="20552049">
              <a:off x="3463129" y="3324572"/>
              <a:ext cx="1588" cy="3175"/>
            </a:xfrm>
            <a:custGeom>
              <a:avLst/>
              <a:gdLst/>
              <a:ahLst/>
              <a:cxnLst>
                <a:cxn ang="0">
                  <a:pos x="26" y="0"/>
                </a:cxn>
                <a:cxn ang="0">
                  <a:pos x="39" y="0"/>
                </a:cxn>
                <a:cxn ang="0">
                  <a:pos x="68" y="20"/>
                </a:cxn>
                <a:cxn ang="0">
                  <a:pos x="63" y="42"/>
                </a:cxn>
                <a:cxn ang="0">
                  <a:pos x="14" y="42"/>
                </a:cxn>
                <a:cxn ang="0">
                  <a:pos x="5" y="34"/>
                </a:cxn>
                <a:cxn ang="0">
                  <a:pos x="0" y="20"/>
                </a:cxn>
                <a:cxn ang="0">
                  <a:pos x="5" y="9"/>
                </a:cxn>
                <a:cxn ang="0">
                  <a:pos x="17" y="9"/>
                </a:cxn>
                <a:cxn ang="0">
                  <a:pos x="26" y="0"/>
                </a:cxn>
              </a:cxnLst>
              <a:rect l="0" t="0" r="r" b="b"/>
              <a:pathLst>
                <a:path w="68" h="42">
                  <a:moveTo>
                    <a:pt x="26" y="0"/>
                  </a:moveTo>
                  <a:lnTo>
                    <a:pt x="39" y="0"/>
                  </a:lnTo>
                  <a:lnTo>
                    <a:pt x="68" y="20"/>
                  </a:lnTo>
                  <a:lnTo>
                    <a:pt x="63" y="42"/>
                  </a:lnTo>
                  <a:lnTo>
                    <a:pt x="14" y="42"/>
                  </a:lnTo>
                  <a:lnTo>
                    <a:pt x="5" y="34"/>
                  </a:lnTo>
                  <a:lnTo>
                    <a:pt x="0" y="20"/>
                  </a:lnTo>
                  <a:lnTo>
                    <a:pt x="5" y="9"/>
                  </a:lnTo>
                  <a:lnTo>
                    <a:pt x="17" y="9"/>
                  </a:lnTo>
                  <a:lnTo>
                    <a:pt x="26"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865" name="Group 337"/>
            <p:cNvGrpSpPr>
              <a:grpSpLocks noChangeAspect="1"/>
            </p:cNvGrpSpPr>
            <p:nvPr/>
          </p:nvGrpSpPr>
          <p:grpSpPr bwMode="gray">
            <a:xfrm>
              <a:off x="3455191" y="3327747"/>
              <a:ext cx="28575" cy="44450"/>
              <a:chOff x="1694" y="2257"/>
              <a:chExt cx="18" cy="28"/>
            </a:xfrm>
            <a:grpFill/>
          </p:grpSpPr>
          <p:sp>
            <p:nvSpPr>
              <p:cNvPr id="983" name="Freeform 338"/>
              <p:cNvSpPr>
                <a:spLocks noChangeAspect="1"/>
              </p:cNvSpPr>
              <p:nvPr/>
            </p:nvSpPr>
            <p:spPr bwMode="gray">
              <a:xfrm rot="-1047951">
                <a:off x="1701" y="2270"/>
                <a:ext cx="3" cy="4"/>
              </a:xfrm>
              <a:custGeom>
                <a:avLst/>
                <a:gdLst/>
                <a:ahLst/>
                <a:cxnLst>
                  <a:cxn ang="0">
                    <a:pos x="89" y="8"/>
                  </a:cxn>
                  <a:cxn ang="0">
                    <a:pos x="138" y="32"/>
                  </a:cxn>
                  <a:cxn ang="0">
                    <a:pos x="147" y="83"/>
                  </a:cxn>
                  <a:cxn ang="0">
                    <a:pos x="105" y="62"/>
                  </a:cxn>
                  <a:cxn ang="0">
                    <a:pos x="29" y="56"/>
                  </a:cxn>
                  <a:cxn ang="0">
                    <a:pos x="0" y="14"/>
                  </a:cxn>
                  <a:cxn ang="0">
                    <a:pos x="32" y="0"/>
                  </a:cxn>
                  <a:cxn ang="0">
                    <a:pos x="89" y="8"/>
                  </a:cxn>
                </a:cxnLst>
                <a:rect l="0" t="0" r="r" b="b"/>
                <a:pathLst>
                  <a:path w="147" h="83">
                    <a:moveTo>
                      <a:pt x="89" y="8"/>
                    </a:moveTo>
                    <a:lnTo>
                      <a:pt x="138" y="32"/>
                    </a:lnTo>
                    <a:lnTo>
                      <a:pt x="147" y="83"/>
                    </a:lnTo>
                    <a:lnTo>
                      <a:pt x="105" y="62"/>
                    </a:lnTo>
                    <a:lnTo>
                      <a:pt x="29" y="56"/>
                    </a:lnTo>
                    <a:lnTo>
                      <a:pt x="0" y="14"/>
                    </a:lnTo>
                    <a:lnTo>
                      <a:pt x="32" y="0"/>
                    </a:lnTo>
                    <a:lnTo>
                      <a:pt x="89" y="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84" name="Freeform 339"/>
              <p:cNvSpPr>
                <a:spLocks noChangeAspect="1"/>
              </p:cNvSpPr>
              <p:nvPr/>
            </p:nvSpPr>
            <p:spPr bwMode="gray">
              <a:xfrm rot="-1047951">
                <a:off x="1694" y="2257"/>
                <a:ext cx="18" cy="28"/>
              </a:xfrm>
              <a:custGeom>
                <a:avLst/>
                <a:gdLst/>
                <a:ahLst/>
                <a:cxnLst>
                  <a:cxn ang="0">
                    <a:pos x="826" y="627"/>
                  </a:cxn>
                  <a:cxn ang="0">
                    <a:pos x="835" y="614"/>
                  </a:cxn>
                  <a:cxn ang="0">
                    <a:pos x="843" y="539"/>
                  </a:cxn>
                  <a:cxn ang="0">
                    <a:pos x="835" y="504"/>
                  </a:cxn>
                  <a:cxn ang="0">
                    <a:pos x="801" y="466"/>
                  </a:cxn>
                  <a:cxn ang="0">
                    <a:pos x="801" y="442"/>
                  </a:cxn>
                  <a:cxn ang="0">
                    <a:pos x="809" y="425"/>
                  </a:cxn>
                  <a:cxn ang="0">
                    <a:pos x="852" y="392"/>
                  </a:cxn>
                  <a:cxn ang="0">
                    <a:pos x="847" y="298"/>
                  </a:cxn>
                  <a:cxn ang="0">
                    <a:pos x="868" y="277"/>
                  </a:cxn>
                  <a:cxn ang="0">
                    <a:pos x="877" y="243"/>
                  </a:cxn>
                  <a:cxn ang="0">
                    <a:pos x="852" y="214"/>
                  </a:cxn>
                  <a:cxn ang="0">
                    <a:pos x="860" y="135"/>
                  </a:cxn>
                  <a:cxn ang="0">
                    <a:pos x="847" y="88"/>
                  </a:cxn>
                  <a:cxn ang="0">
                    <a:pos x="813" y="46"/>
                  </a:cxn>
                  <a:cxn ang="0">
                    <a:pos x="818" y="37"/>
                  </a:cxn>
                  <a:cxn ang="0">
                    <a:pos x="809" y="37"/>
                  </a:cxn>
                  <a:cxn ang="0">
                    <a:pos x="775" y="63"/>
                  </a:cxn>
                  <a:cxn ang="0">
                    <a:pos x="639" y="67"/>
                  </a:cxn>
                  <a:cxn ang="0">
                    <a:pos x="606" y="59"/>
                  </a:cxn>
                  <a:cxn ang="0">
                    <a:pos x="564" y="29"/>
                  </a:cxn>
                  <a:cxn ang="0">
                    <a:pos x="513" y="8"/>
                  </a:cxn>
                  <a:cxn ang="0">
                    <a:pos x="445" y="0"/>
                  </a:cxn>
                  <a:cxn ang="0">
                    <a:pos x="356" y="17"/>
                  </a:cxn>
                  <a:cxn ang="0">
                    <a:pos x="317" y="37"/>
                  </a:cxn>
                  <a:cxn ang="0">
                    <a:pos x="300" y="63"/>
                  </a:cxn>
                  <a:cxn ang="0">
                    <a:pos x="305" y="101"/>
                  </a:cxn>
                  <a:cxn ang="0">
                    <a:pos x="326" y="109"/>
                  </a:cxn>
                  <a:cxn ang="0">
                    <a:pos x="445" y="109"/>
                  </a:cxn>
                  <a:cxn ang="0">
                    <a:pos x="492" y="135"/>
                  </a:cxn>
                  <a:cxn ang="0">
                    <a:pos x="504" y="172"/>
                  </a:cxn>
                  <a:cxn ang="0">
                    <a:pos x="504" y="298"/>
                  </a:cxn>
                  <a:cxn ang="0">
                    <a:pos x="513" y="327"/>
                  </a:cxn>
                  <a:cxn ang="0">
                    <a:pos x="584" y="387"/>
                  </a:cxn>
                  <a:cxn ang="0">
                    <a:pos x="631" y="412"/>
                  </a:cxn>
                  <a:cxn ang="0">
                    <a:pos x="635" y="442"/>
                  </a:cxn>
                  <a:cxn ang="0">
                    <a:pos x="618" y="459"/>
                  </a:cxn>
                  <a:cxn ang="0">
                    <a:pos x="581" y="459"/>
                  </a:cxn>
                  <a:cxn ang="0">
                    <a:pos x="516" y="476"/>
                  </a:cxn>
                  <a:cxn ang="0">
                    <a:pos x="377" y="479"/>
                  </a:cxn>
                  <a:cxn ang="0">
                    <a:pos x="262" y="466"/>
                  </a:cxn>
                  <a:cxn ang="0">
                    <a:pos x="186" y="445"/>
                  </a:cxn>
                  <a:cxn ang="0">
                    <a:pos x="8" y="445"/>
                  </a:cxn>
                  <a:cxn ang="0">
                    <a:pos x="0" y="459"/>
                  </a:cxn>
                  <a:cxn ang="0">
                    <a:pos x="0" y="491"/>
                  </a:cxn>
                  <a:cxn ang="0">
                    <a:pos x="42" y="550"/>
                  </a:cxn>
                  <a:cxn ang="0">
                    <a:pos x="131" y="589"/>
                  </a:cxn>
                  <a:cxn ang="0">
                    <a:pos x="164" y="623"/>
                  </a:cxn>
                  <a:cxn ang="0">
                    <a:pos x="186" y="614"/>
                  </a:cxn>
                  <a:cxn ang="0">
                    <a:pos x="181" y="584"/>
                  </a:cxn>
                  <a:cxn ang="0">
                    <a:pos x="198" y="567"/>
                  </a:cxn>
                  <a:cxn ang="0">
                    <a:pos x="224" y="555"/>
                  </a:cxn>
                  <a:cxn ang="0">
                    <a:pos x="249" y="555"/>
                  </a:cxn>
                  <a:cxn ang="0">
                    <a:pos x="339" y="559"/>
                  </a:cxn>
                  <a:cxn ang="0">
                    <a:pos x="504" y="601"/>
                  </a:cxn>
                  <a:cxn ang="0">
                    <a:pos x="547" y="597"/>
                  </a:cxn>
                  <a:cxn ang="0">
                    <a:pos x="648" y="567"/>
                  </a:cxn>
                  <a:cxn ang="0">
                    <a:pos x="690" y="567"/>
                  </a:cxn>
                  <a:cxn ang="0">
                    <a:pos x="729" y="575"/>
                  </a:cxn>
                  <a:cxn ang="0">
                    <a:pos x="758" y="592"/>
                  </a:cxn>
                  <a:cxn ang="0">
                    <a:pos x="787" y="601"/>
                  </a:cxn>
                  <a:cxn ang="0">
                    <a:pos x="821" y="617"/>
                  </a:cxn>
                  <a:cxn ang="0">
                    <a:pos x="826" y="627"/>
                  </a:cxn>
                </a:cxnLst>
                <a:rect l="0" t="0" r="r" b="b"/>
                <a:pathLst>
                  <a:path w="877" h="627">
                    <a:moveTo>
                      <a:pt x="826" y="627"/>
                    </a:moveTo>
                    <a:lnTo>
                      <a:pt x="835" y="614"/>
                    </a:lnTo>
                    <a:lnTo>
                      <a:pt x="843" y="539"/>
                    </a:lnTo>
                    <a:lnTo>
                      <a:pt x="835" y="504"/>
                    </a:lnTo>
                    <a:lnTo>
                      <a:pt x="801" y="466"/>
                    </a:lnTo>
                    <a:lnTo>
                      <a:pt x="801" y="442"/>
                    </a:lnTo>
                    <a:lnTo>
                      <a:pt x="809" y="425"/>
                    </a:lnTo>
                    <a:lnTo>
                      <a:pt x="852" y="392"/>
                    </a:lnTo>
                    <a:lnTo>
                      <a:pt x="847" y="298"/>
                    </a:lnTo>
                    <a:lnTo>
                      <a:pt x="868" y="277"/>
                    </a:lnTo>
                    <a:lnTo>
                      <a:pt x="877" y="243"/>
                    </a:lnTo>
                    <a:lnTo>
                      <a:pt x="852" y="214"/>
                    </a:lnTo>
                    <a:lnTo>
                      <a:pt x="860" y="135"/>
                    </a:lnTo>
                    <a:lnTo>
                      <a:pt x="847" y="88"/>
                    </a:lnTo>
                    <a:lnTo>
                      <a:pt x="813" y="46"/>
                    </a:lnTo>
                    <a:lnTo>
                      <a:pt x="818" y="37"/>
                    </a:lnTo>
                    <a:lnTo>
                      <a:pt x="809" y="37"/>
                    </a:lnTo>
                    <a:lnTo>
                      <a:pt x="775" y="63"/>
                    </a:lnTo>
                    <a:lnTo>
                      <a:pt x="639" y="67"/>
                    </a:lnTo>
                    <a:lnTo>
                      <a:pt x="606" y="59"/>
                    </a:lnTo>
                    <a:lnTo>
                      <a:pt x="564" y="29"/>
                    </a:lnTo>
                    <a:lnTo>
                      <a:pt x="513" y="8"/>
                    </a:lnTo>
                    <a:lnTo>
                      <a:pt x="445" y="0"/>
                    </a:lnTo>
                    <a:lnTo>
                      <a:pt x="356" y="17"/>
                    </a:lnTo>
                    <a:lnTo>
                      <a:pt x="317" y="37"/>
                    </a:lnTo>
                    <a:lnTo>
                      <a:pt x="300" y="63"/>
                    </a:lnTo>
                    <a:lnTo>
                      <a:pt x="305" y="101"/>
                    </a:lnTo>
                    <a:lnTo>
                      <a:pt x="326" y="109"/>
                    </a:lnTo>
                    <a:lnTo>
                      <a:pt x="445" y="109"/>
                    </a:lnTo>
                    <a:lnTo>
                      <a:pt x="492" y="135"/>
                    </a:lnTo>
                    <a:lnTo>
                      <a:pt x="504" y="172"/>
                    </a:lnTo>
                    <a:lnTo>
                      <a:pt x="504" y="298"/>
                    </a:lnTo>
                    <a:lnTo>
                      <a:pt x="513" y="327"/>
                    </a:lnTo>
                    <a:lnTo>
                      <a:pt x="584" y="387"/>
                    </a:lnTo>
                    <a:lnTo>
                      <a:pt x="631" y="412"/>
                    </a:lnTo>
                    <a:lnTo>
                      <a:pt x="635" y="442"/>
                    </a:lnTo>
                    <a:lnTo>
                      <a:pt x="618" y="459"/>
                    </a:lnTo>
                    <a:lnTo>
                      <a:pt x="581" y="459"/>
                    </a:lnTo>
                    <a:lnTo>
                      <a:pt x="516" y="476"/>
                    </a:lnTo>
                    <a:lnTo>
                      <a:pt x="377" y="479"/>
                    </a:lnTo>
                    <a:lnTo>
                      <a:pt x="262" y="466"/>
                    </a:lnTo>
                    <a:lnTo>
                      <a:pt x="186" y="445"/>
                    </a:lnTo>
                    <a:lnTo>
                      <a:pt x="8" y="445"/>
                    </a:lnTo>
                    <a:lnTo>
                      <a:pt x="0" y="459"/>
                    </a:lnTo>
                    <a:lnTo>
                      <a:pt x="0" y="491"/>
                    </a:lnTo>
                    <a:lnTo>
                      <a:pt x="42" y="550"/>
                    </a:lnTo>
                    <a:lnTo>
                      <a:pt x="131" y="589"/>
                    </a:lnTo>
                    <a:lnTo>
                      <a:pt x="164" y="623"/>
                    </a:lnTo>
                    <a:lnTo>
                      <a:pt x="186" y="614"/>
                    </a:lnTo>
                    <a:lnTo>
                      <a:pt x="181" y="584"/>
                    </a:lnTo>
                    <a:lnTo>
                      <a:pt x="198" y="567"/>
                    </a:lnTo>
                    <a:lnTo>
                      <a:pt x="224" y="555"/>
                    </a:lnTo>
                    <a:lnTo>
                      <a:pt x="249" y="555"/>
                    </a:lnTo>
                    <a:lnTo>
                      <a:pt x="339" y="559"/>
                    </a:lnTo>
                    <a:lnTo>
                      <a:pt x="504" y="601"/>
                    </a:lnTo>
                    <a:lnTo>
                      <a:pt x="547" y="597"/>
                    </a:lnTo>
                    <a:lnTo>
                      <a:pt x="648" y="567"/>
                    </a:lnTo>
                    <a:lnTo>
                      <a:pt x="690" y="567"/>
                    </a:lnTo>
                    <a:lnTo>
                      <a:pt x="729" y="575"/>
                    </a:lnTo>
                    <a:lnTo>
                      <a:pt x="758" y="592"/>
                    </a:lnTo>
                    <a:lnTo>
                      <a:pt x="787" y="601"/>
                    </a:lnTo>
                    <a:lnTo>
                      <a:pt x="821" y="617"/>
                    </a:lnTo>
                    <a:lnTo>
                      <a:pt x="826" y="62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866" name="Freeform 340"/>
            <p:cNvSpPr>
              <a:spLocks noChangeAspect="1"/>
            </p:cNvSpPr>
            <p:nvPr/>
          </p:nvSpPr>
          <p:spPr bwMode="gray">
            <a:xfrm rot="20552049">
              <a:off x="3532980" y="3337271"/>
              <a:ext cx="15875" cy="12700"/>
            </a:xfrm>
            <a:custGeom>
              <a:avLst/>
              <a:gdLst/>
              <a:ahLst/>
              <a:cxnLst>
                <a:cxn ang="0">
                  <a:pos x="442" y="20"/>
                </a:cxn>
                <a:cxn ang="0">
                  <a:pos x="462" y="54"/>
                </a:cxn>
                <a:cxn ang="0">
                  <a:pos x="471" y="99"/>
                </a:cxn>
                <a:cxn ang="0">
                  <a:pos x="425" y="141"/>
                </a:cxn>
                <a:cxn ang="0">
                  <a:pos x="393" y="159"/>
                </a:cxn>
                <a:cxn ang="0">
                  <a:pos x="292" y="180"/>
                </a:cxn>
                <a:cxn ang="0">
                  <a:pos x="224" y="180"/>
                </a:cxn>
                <a:cxn ang="0">
                  <a:pos x="156" y="172"/>
                </a:cxn>
                <a:cxn ang="0">
                  <a:pos x="51" y="176"/>
                </a:cxn>
                <a:cxn ang="0">
                  <a:pos x="42" y="172"/>
                </a:cxn>
                <a:cxn ang="0">
                  <a:pos x="30" y="113"/>
                </a:cxn>
                <a:cxn ang="0">
                  <a:pos x="0" y="66"/>
                </a:cxn>
                <a:cxn ang="0">
                  <a:pos x="0" y="23"/>
                </a:cxn>
                <a:cxn ang="0">
                  <a:pos x="30" y="0"/>
                </a:cxn>
                <a:cxn ang="0">
                  <a:pos x="385" y="0"/>
                </a:cxn>
                <a:cxn ang="0">
                  <a:pos x="416" y="3"/>
                </a:cxn>
                <a:cxn ang="0">
                  <a:pos x="437" y="11"/>
                </a:cxn>
                <a:cxn ang="0">
                  <a:pos x="442" y="20"/>
                </a:cxn>
              </a:cxnLst>
              <a:rect l="0" t="0" r="r" b="b"/>
              <a:pathLst>
                <a:path w="471" h="180">
                  <a:moveTo>
                    <a:pt x="442" y="20"/>
                  </a:moveTo>
                  <a:lnTo>
                    <a:pt x="462" y="54"/>
                  </a:lnTo>
                  <a:lnTo>
                    <a:pt x="471" y="99"/>
                  </a:lnTo>
                  <a:lnTo>
                    <a:pt x="425" y="141"/>
                  </a:lnTo>
                  <a:lnTo>
                    <a:pt x="393" y="159"/>
                  </a:lnTo>
                  <a:lnTo>
                    <a:pt x="292" y="180"/>
                  </a:lnTo>
                  <a:lnTo>
                    <a:pt x="224" y="180"/>
                  </a:lnTo>
                  <a:lnTo>
                    <a:pt x="156" y="172"/>
                  </a:lnTo>
                  <a:lnTo>
                    <a:pt x="51" y="176"/>
                  </a:lnTo>
                  <a:lnTo>
                    <a:pt x="42" y="172"/>
                  </a:lnTo>
                  <a:lnTo>
                    <a:pt x="30" y="113"/>
                  </a:lnTo>
                  <a:lnTo>
                    <a:pt x="0" y="66"/>
                  </a:lnTo>
                  <a:lnTo>
                    <a:pt x="0" y="23"/>
                  </a:lnTo>
                  <a:lnTo>
                    <a:pt x="30" y="0"/>
                  </a:lnTo>
                  <a:lnTo>
                    <a:pt x="385" y="0"/>
                  </a:lnTo>
                  <a:lnTo>
                    <a:pt x="416" y="3"/>
                  </a:lnTo>
                  <a:lnTo>
                    <a:pt x="437" y="11"/>
                  </a:lnTo>
                  <a:lnTo>
                    <a:pt x="442" y="2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67" name="Freeform 341"/>
            <p:cNvSpPr>
              <a:spLocks noChangeAspect="1"/>
            </p:cNvSpPr>
            <p:nvPr/>
          </p:nvSpPr>
          <p:spPr bwMode="gray">
            <a:xfrm rot="20552049">
              <a:off x="3629816" y="3429346"/>
              <a:ext cx="0" cy="4763"/>
            </a:xfrm>
            <a:custGeom>
              <a:avLst/>
              <a:gdLst/>
              <a:ahLst/>
              <a:cxnLst>
                <a:cxn ang="0">
                  <a:pos x="14" y="0"/>
                </a:cxn>
                <a:cxn ang="0">
                  <a:pos x="0" y="7"/>
                </a:cxn>
                <a:cxn ang="0">
                  <a:pos x="0" y="76"/>
                </a:cxn>
                <a:cxn ang="0">
                  <a:pos x="14" y="59"/>
                </a:cxn>
                <a:cxn ang="0">
                  <a:pos x="14" y="0"/>
                </a:cxn>
              </a:cxnLst>
              <a:rect l="0" t="0" r="r" b="b"/>
              <a:pathLst>
                <a:path w="14" h="76">
                  <a:moveTo>
                    <a:pt x="14" y="0"/>
                  </a:moveTo>
                  <a:lnTo>
                    <a:pt x="0" y="7"/>
                  </a:lnTo>
                  <a:lnTo>
                    <a:pt x="0" y="76"/>
                  </a:lnTo>
                  <a:lnTo>
                    <a:pt x="14" y="59"/>
                  </a:lnTo>
                  <a:lnTo>
                    <a:pt x="14"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68" name="Freeform 342"/>
            <p:cNvSpPr>
              <a:spLocks noChangeAspect="1"/>
            </p:cNvSpPr>
            <p:nvPr/>
          </p:nvSpPr>
          <p:spPr bwMode="gray">
            <a:xfrm rot="20552049">
              <a:off x="3602830" y="3362672"/>
              <a:ext cx="4763" cy="11113"/>
            </a:xfrm>
            <a:custGeom>
              <a:avLst/>
              <a:gdLst/>
              <a:ahLst/>
              <a:cxnLst>
                <a:cxn ang="0">
                  <a:pos x="122" y="0"/>
                </a:cxn>
                <a:cxn ang="0">
                  <a:pos x="98" y="4"/>
                </a:cxn>
                <a:cxn ang="0">
                  <a:pos x="81" y="52"/>
                </a:cxn>
                <a:cxn ang="0">
                  <a:pos x="17" y="45"/>
                </a:cxn>
                <a:cxn ang="0">
                  <a:pos x="0" y="104"/>
                </a:cxn>
                <a:cxn ang="0">
                  <a:pos x="8" y="160"/>
                </a:cxn>
                <a:cxn ang="0">
                  <a:pos x="53" y="163"/>
                </a:cxn>
                <a:cxn ang="0">
                  <a:pos x="70" y="104"/>
                </a:cxn>
                <a:cxn ang="0">
                  <a:pos x="83" y="93"/>
                </a:cxn>
                <a:cxn ang="0">
                  <a:pos x="132" y="91"/>
                </a:cxn>
                <a:cxn ang="0">
                  <a:pos x="173" y="74"/>
                </a:cxn>
                <a:cxn ang="0">
                  <a:pos x="166" y="52"/>
                </a:cxn>
                <a:cxn ang="0">
                  <a:pos x="135" y="38"/>
                </a:cxn>
                <a:cxn ang="0">
                  <a:pos x="122" y="0"/>
                </a:cxn>
              </a:cxnLst>
              <a:rect l="0" t="0" r="r" b="b"/>
              <a:pathLst>
                <a:path w="173" h="163">
                  <a:moveTo>
                    <a:pt x="122" y="0"/>
                  </a:moveTo>
                  <a:lnTo>
                    <a:pt x="98" y="4"/>
                  </a:lnTo>
                  <a:lnTo>
                    <a:pt x="81" y="52"/>
                  </a:lnTo>
                  <a:lnTo>
                    <a:pt x="17" y="45"/>
                  </a:lnTo>
                  <a:lnTo>
                    <a:pt x="0" y="104"/>
                  </a:lnTo>
                  <a:lnTo>
                    <a:pt x="8" y="160"/>
                  </a:lnTo>
                  <a:lnTo>
                    <a:pt x="53" y="163"/>
                  </a:lnTo>
                  <a:lnTo>
                    <a:pt x="70" y="104"/>
                  </a:lnTo>
                  <a:lnTo>
                    <a:pt x="83" y="93"/>
                  </a:lnTo>
                  <a:lnTo>
                    <a:pt x="132" y="91"/>
                  </a:lnTo>
                  <a:lnTo>
                    <a:pt x="173" y="74"/>
                  </a:lnTo>
                  <a:lnTo>
                    <a:pt x="166" y="52"/>
                  </a:lnTo>
                  <a:lnTo>
                    <a:pt x="135" y="38"/>
                  </a:lnTo>
                  <a:lnTo>
                    <a:pt x="122"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69" name="Freeform 343"/>
            <p:cNvSpPr>
              <a:spLocks noChangeAspect="1"/>
            </p:cNvSpPr>
            <p:nvPr/>
          </p:nvSpPr>
          <p:spPr bwMode="gray">
            <a:xfrm rot="20552049">
              <a:off x="3556791" y="3334096"/>
              <a:ext cx="0" cy="1588"/>
            </a:xfrm>
            <a:custGeom>
              <a:avLst/>
              <a:gdLst/>
              <a:ahLst/>
              <a:cxnLst>
                <a:cxn ang="0">
                  <a:pos x="28" y="0"/>
                </a:cxn>
                <a:cxn ang="0">
                  <a:pos x="0" y="21"/>
                </a:cxn>
                <a:cxn ang="0">
                  <a:pos x="3" y="39"/>
                </a:cxn>
                <a:cxn ang="0">
                  <a:pos x="28" y="32"/>
                </a:cxn>
                <a:cxn ang="0">
                  <a:pos x="28" y="0"/>
                </a:cxn>
              </a:cxnLst>
              <a:rect l="0" t="0" r="r" b="b"/>
              <a:pathLst>
                <a:path w="28" h="39">
                  <a:moveTo>
                    <a:pt x="28" y="0"/>
                  </a:moveTo>
                  <a:lnTo>
                    <a:pt x="0" y="21"/>
                  </a:lnTo>
                  <a:lnTo>
                    <a:pt x="3" y="39"/>
                  </a:lnTo>
                  <a:lnTo>
                    <a:pt x="28" y="32"/>
                  </a:lnTo>
                  <a:lnTo>
                    <a:pt x="28"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70" name="Freeform 344"/>
            <p:cNvSpPr>
              <a:spLocks noChangeAspect="1"/>
            </p:cNvSpPr>
            <p:nvPr/>
          </p:nvSpPr>
          <p:spPr bwMode="gray">
            <a:xfrm rot="20552049">
              <a:off x="3559966" y="3346796"/>
              <a:ext cx="1588" cy="3175"/>
            </a:xfrm>
            <a:custGeom>
              <a:avLst/>
              <a:gdLst/>
              <a:ahLst/>
              <a:cxnLst>
                <a:cxn ang="0">
                  <a:pos x="6" y="8"/>
                </a:cxn>
                <a:cxn ang="0">
                  <a:pos x="0" y="17"/>
                </a:cxn>
                <a:cxn ang="0">
                  <a:pos x="6" y="34"/>
                </a:cxn>
                <a:cxn ang="0">
                  <a:pos x="42" y="0"/>
                </a:cxn>
                <a:cxn ang="0">
                  <a:pos x="6" y="8"/>
                </a:cxn>
              </a:cxnLst>
              <a:rect l="0" t="0" r="r" b="b"/>
              <a:pathLst>
                <a:path w="42" h="34">
                  <a:moveTo>
                    <a:pt x="6" y="8"/>
                  </a:moveTo>
                  <a:lnTo>
                    <a:pt x="0" y="17"/>
                  </a:lnTo>
                  <a:lnTo>
                    <a:pt x="6" y="34"/>
                  </a:lnTo>
                  <a:lnTo>
                    <a:pt x="42" y="0"/>
                  </a:lnTo>
                  <a:lnTo>
                    <a:pt x="6" y="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71" name="Freeform 345"/>
            <p:cNvSpPr>
              <a:spLocks noChangeAspect="1"/>
            </p:cNvSpPr>
            <p:nvPr/>
          </p:nvSpPr>
          <p:spPr bwMode="gray">
            <a:xfrm rot="20552049">
              <a:off x="3610767" y="3380134"/>
              <a:ext cx="3175" cy="7938"/>
            </a:xfrm>
            <a:custGeom>
              <a:avLst/>
              <a:gdLst/>
              <a:ahLst/>
              <a:cxnLst>
                <a:cxn ang="0">
                  <a:pos x="18" y="0"/>
                </a:cxn>
                <a:cxn ang="0">
                  <a:pos x="0" y="0"/>
                </a:cxn>
                <a:cxn ang="0">
                  <a:pos x="0" y="86"/>
                </a:cxn>
                <a:cxn ang="0">
                  <a:pos x="14" y="124"/>
                </a:cxn>
                <a:cxn ang="0">
                  <a:pos x="42" y="124"/>
                </a:cxn>
                <a:cxn ang="0">
                  <a:pos x="52" y="90"/>
                </a:cxn>
                <a:cxn ang="0">
                  <a:pos x="49" y="20"/>
                </a:cxn>
                <a:cxn ang="0">
                  <a:pos x="18" y="0"/>
                </a:cxn>
              </a:cxnLst>
              <a:rect l="0" t="0" r="r" b="b"/>
              <a:pathLst>
                <a:path w="52" h="124">
                  <a:moveTo>
                    <a:pt x="18" y="0"/>
                  </a:moveTo>
                  <a:lnTo>
                    <a:pt x="0" y="0"/>
                  </a:lnTo>
                  <a:lnTo>
                    <a:pt x="0" y="86"/>
                  </a:lnTo>
                  <a:lnTo>
                    <a:pt x="14" y="124"/>
                  </a:lnTo>
                  <a:lnTo>
                    <a:pt x="42" y="124"/>
                  </a:lnTo>
                  <a:lnTo>
                    <a:pt x="52" y="90"/>
                  </a:lnTo>
                  <a:lnTo>
                    <a:pt x="49" y="20"/>
                  </a:lnTo>
                  <a:lnTo>
                    <a:pt x="18"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72" name="Freeform 346"/>
            <p:cNvSpPr>
              <a:spLocks noChangeAspect="1"/>
            </p:cNvSpPr>
            <p:nvPr/>
          </p:nvSpPr>
          <p:spPr bwMode="gray">
            <a:xfrm rot="20552049">
              <a:off x="3629816" y="3454747"/>
              <a:ext cx="1588" cy="4763"/>
            </a:xfrm>
            <a:custGeom>
              <a:avLst/>
              <a:gdLst/>
              <a:ahLst/>
              <a:cxnLst>
                <a:cxn ang="0">
                  <a:pos x="49" y="0"/>
                </a:cxn>
                <a:cxn ang="0">
                  <a:pos x="17" y="14"/>
                </a:cxn>
                <a:cxn ang="0">
                  <a:pos x="0" y="62"/>
                </a:cxn>
                <a:cxn ang="0">
                  <a:pos x="38" y="41"/>
                </a:cxn>
                <a:cxn ang="0">
                  <a:pos x="49" y="0"/>
                </a:cxn>
              </a:cxnLst>
              <a:rect l="0" t="0" r="r" b="b"/>
              <a:pathLst>
                <a:path w="49" h="62">
                  <a:moveTo>
                    <a:pt x="49" y="0"/>
                  </a:moveTo>
                  <a:lnTo>
                    <a:pt x="17" y="14"/>
                  </a:lnTo>
                  <a:lnTo>
                    <a:pt x="0" y="62"/>
                  </a:lnTo>
                  <a:lnTo>
                    <a:pt x="38" y="41"/>
                  </a:lnTo>
                  <a:lnTo>
                    <a:pt x="49"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73" name="Freeform 347"/>
            <p:cNvSpPr>
              <a:spLocks noChangeAspect="1"/>
            </p:cNvSpPr>
            <p:nvPr/>
          </p:nvSpPr>
          <p:spPr bwMode="gray">
            <a:xfrm rot="20552049">
              <a:off x="3325016" y="3280122"/>
              <a:ext cx="117475" cy="77788"/>
            </a:xfrm>
            <a:custGeom>
              <a:avLst/>
              <a:gdLst/>
              <a:ahLst/>
              <a:cxnLst>
                <a:cxn ang="0">
                  <a:pos x="2488" y="571"/>
                </a:cxn>
                <a:cxn ang="0">
                  <a:pos x="2639" y="644"/>
                </a:cxn>
                <a:cxn ang="0">
                  <a:pos x="2750" y="689"/>
                </a:cxn>
                <a:cxn ang="0">
                  <a:pos x="2869" y="689"/>
                </a:cxn>
                <a:cxn ang="0">
                  <a:pos x="2865" y="787"/>
                </a:cxn>
                <a:cxn ang="0">
                  <a:pos x="2916" y="820"/>
                </a:cxn>
                <a:cxn ang="0">
                  <a:pos x="3170" y="871"/>
                </a:cxn>
                <a:cxn ang="0">
                  <a:pos x="3309" y="951"/>
                </a:cxn>
                <a:cxn ang="0">
                  <a:pos x="3137" y="1073"/>
                </a:cxn>
                <a:cxn ang="0">
                  <a:pos x="2908" y="1111"/>
                </a:cxn>
                <a:cxn ang="0">
                  <a:pos x="2531" y="1086"/>
                </a:cxn>
                <a:cxn ang="0">
                  <a:pos x="2269" y="1123"/>
                </a:cxn>
                <a:cxn ang="0">
                  <a:pos x="2255" y="1069"/>
                </a:cxn>
                <a:cxn ang="0">
                  <a:pos x="2449" y="951"/>
                </a:cxn>
                <a:cxn ang="0">
                  <a:pos x="2416" y="880"/>
                </a:cxn>
                <a:cxn ang="0">
                  <a:pos x="2107" y="803"/>
                </a:cxn>
                <a:cxn ang="0">
                  <a:pos x="1989" y="660"/>
                </a:cxn>
                <a:cxn ang="0">
                  <a:pos x="1832" y="547"/>
                </a:cxn>
                <a:cxn ang="0">
                  <a:pos x="1675" y="534"/>
                </a:cxn>
                <a:cxn ang="0">
                  <a:pos x="1405" y="412"/>
                </a:cxn>
                <a:cxn ang="0">
                  <a:pos x="1184" y="366"/>
                </a:cxn>
                <a:cxn ang="0">
                  <a:pos x="1091" y="383"/>
                </a:cxn>
                <a:cxn ang="0">
                  <a:pos x="955" y="353"/>
                </a:cxn>
                <a:cxn ang="0">
                  <a:pos x="870" y="293"/>
                </a:cxn>
                <a:cxn ang="0">
                  <a:pos x="990" y="231"/>
                </a:cxn>
                <a:cxn ang="0">
                  <a:pos x="929" y="189"/>
                </a:cxn>
                <a:cxn ang="0">
                  <a:pos x="604" y="205"/>
                </a:cxn>
                <a:cxn ang="0">
                  <a:pos x="451" y="325"/>
                </a:cxn>
                <a:cxn ang="0">
                  <a:pos x="281" y="403"/>
                </a:cxn>
                <a:cxn ang="0">
                  <a:pos x="129" y="482"/>
                </a:cxn>
                <a:cxn ang="0">
                  <a:pos x="99" y="449"/>
                </a:cxn>
                <a:cxn ang="0">
                  <a:pos x="78" y="396"/>
                </a:cxn>
                <a:cxn ang="0">
                  <a:pos x="147" y="366"/>
                </a:cxn>
                <a:cxn ang="0">
                  <a:pos x="238" y="176"/>
                </a:cxn>
                <a:cxn ang="0">
                  <a:pos x="454" y="79"/>
                </a:cxn>
                <a:cxn ang="0">
                  <a:pos x="1003" y="0"/>
                </a:cxn>
                <a:cxn ang="0">
                  <a:pos x="1295" y="20"/>
                </a:cxn>
                <a:cxn ang="0">
                  <a:pos x="1490" y="62"/>
                </a:cxn>
                <a:cxn ang="0">
                  <a:pos x="1637" y="189"/>
                </a:cxn>
                <a:cxn ang="0">
                  <a:pos x="1879" y="251"/>
                </a:cxn>
                <a:cxn ang="0">
                  <a:pos x="1985" y="293"/>
                </a:cxn>
                <a:cxn ang="0">
                  <a:pos x="1989" y="325"/>
                </a:cxn>
                <a:cxn ang="0">
                  <a:pos x="2167" y="429"/>
                </a:cxn>
                <a:cxn ang="0">
                  <a:pos x="2394" y="508"/>
                </a:cxn>
              </a:cxnLst>
              <a:rect l="0" t="0" r="r" b="b"/>
              <a:pathLst>
                <a:path w="3347" h="1123">
                  <a:moveTo>
                    <a:pt x="2394" y="508"/>
                  </a:moveTo>
                  <a:lnTo>
                    <a:pt x="2399" y="517"/>
                  </a:lnTo>
                  <a:lnTo>
                    <a:pt x="2488" y="571"/>
                  </a:lnTo>
                  <a:lnTo>
                    <a:pt x="2559" y="627"/>
                  </a:lnTo>
                  <a:lnTo>
                    <a:pt x="2605" y="644"/>
                  </a:lnTo>
                  <a:lnTo>
                    <a:pt x="2639" y="644"/>
                  </a:lnTo>
                  <a:lnTo>
                    <a:pt x="2665" y="652"/>
                  </a:lnTo>
                  <a:lnTo>
                    <a:pt x="2687" y="669"/>
                  </a:lnTo>
                  <a:lnTo>
                    <a:pt x="2750" y="689"/>
                  </a:lnTo>
                  <a:lnTo>
                    <a:pt x="2793" y="689"/>
                  </a:lnTo>
                  <a:lnTo>
                    <a:pt x="2835" y="680"/>
                  </a:lnTo>
                  <a:lnTo>
                    <a:pt x="2869" y="689"/>
                  </a:lnTo>
                  <a:lnTo>
                    <a:pt x="2886" y="719"/>
                  </a:lnTo>
                  <a:lnTo>
                    <a:pt x="2886" y="744"/>
                  </a:lnTo>
                  <a:lnTo>
                    <a:pt x="2865" y="787"/>
                  </a:lnTo>
                  <a:lnTo>
                    <a:pt x="2865" y="803"/>
                  </a:lnTo>
                  <a:lnTo>
                    <a:pt x="2874" y="811"/>
                  </a:lnTo>
                  <a:lnTo>
                    <a:pt x="2916" y="820"/>
                  </a:lnTo>
                  <a:lnTo>
                    <a:pt x="3094" y="816"/>
                  </a:lnTo>
                  <a:lnTo>
                    <a:pt x="3128" y="828"/>
                  </a:lnTo>
                  <a:lnTo>
                    <a:pt x="3170" y="871"/>
                  </a:lnTo>
                  <a:lnTo>
                    <a:pt x="3182" y="891"/>
                  </a:lnTo>
                  <a:lnTo>
                    <a:pt x="3259" y="947"/>
                  </a:lnTo>
                  <a:lnTo>
                    <a:pt x="3309" y="951"/>
                  </a:lnTo>
                  <a:lnTo>
                    <a:pt x="3343" y="964"/>
                  </a:lnTo>
                  <a:lnTo>
                    <a:pt x="3347" y="1002"/>
                  </a:lnTo>
                  <a:lnTo>
                    <a:pt x="3137" y="1073"/>
                  </a:lnTo>
                  <a:lnTo>
                    <a:pt x="3072" y="1103"/>
                  </a:lnTo>
                  <a:lnTo>
                    <a:pt x="2996" y="1115"/>
                  </a:lnTo>
                  <a:lnTo>
                    <a:pt x="2908" y="1111"/>
                  </a:lnTo>
                  <a:lnTo>
                    <a:pt x="2852" y="1094"/>
                  </a:lnTo>
                  <a:lnTo>
                    <a:pt x="2793" y="1090"/>
                  </a:lnTo>
                  <a:lnTo>
                    <a:pt x="2531" y="1086"/>
                  </a:lnTo>
                  <a:lnTo>
                    <a:pt x="2394" y="1103"/>
                  </a:lnTo>
                  <a:lnTo>
                    <a:pt x="2314" y="1123"/>
                  </a:lnTo>
                  <a:lnTo>
                    <a:pt x="2269" y="1123"/>
                  </a:lnTo>
                  <a:lnTo>
                    <a:pt x="2243" y="1115"/>
                  </a:lnTo>
                  <a:lnTo>
                    <a:pt x="2235" y="1094"/>
                  </a:lnTo>
                  <a:lnTo>
                    <a:pt x="2255" y="1069"/>
                  </a:lnTo>
                  <a:lnTo>
                    <a:pt x="2314" y="1019"/>
                  </a:lnTo>
                  <a:lnTo>
                    <a:pt x="2373" y="985"/>
                  </a:lnTo>
                  <a:lnTo>
                    <a:pt x="2449" y="951"/>
                  </a:lnTo>
                  <a:lnTo>
                    <a:pt x="2457" y="917"/>
                  </a:lnTo>
                  <a:lnTo>
                    <a:pt x="2454" y="900"/>
                  </a:lnTo>
                  <a:lnTo>
                    <a:pt x="2416" y="880"/>
                  </a:lnTo>
                  <a:lnTo>
                    <a:pt x="2319" y="849"/>
                  </a:lnTo>
                  <a:lnTo>
                    <a:pt x="2141" y="837"/>
                  </a:lnTo>
                  <a:lnTo>
                    <a:pt x="2107" y="803"/>
                  </a:lnTo>
                  <a:lnTo>
                    <a:pt x="2056" y="770"/>
                  </a:lnTo>
                  <a:lnTo>
                    <a:pt x="2019" y="727"/>
                  </a:lnTo>
                  <a:lnTo>
                    <a:pt x="1989" y="660"/>
                  </a:lnTo>
                  <a:lnTo>
                    <a:pt x="1977" y="606"/>
                  </a:lnTo>
                  <a:lnTo>
                    <a:pt x="1938" y="560"/>
                  </a:lnTo>
                  <a:lnTo>
                    <a:pt x="1832" y="547"/>
                  </a:lnTo>
                  <a:lnTo>
                    <a:pt x="1734" y="551"/>
                  </a:lnTo>
                  <a:lnTo>
                    <a:pt x="1700" y="547"/>
                  </a:lnTo>
                  <a:lnTo>
                    <a:pt x="1675" y="534"/>
                  </a:lnTo>
                  <a:lnTo>
                    <a:pt x="1564" y="513"/>
                  </a:lnTo>
                  <a:lnTo>
                    <a:pt x="1473" y="472"/>
                  </a:lnTo>
                  <a:lnTo>
                    <a:pt x="1405" y="412"/>
                  </a:lnTo>
                  <a:lnTo>
                    <a:pt x="1354" y="387"/>
                  </a:lnTo>
                  <a:lnTo>
                    <a:pt x="1222" y="383"/>
                  </a:lnTo>
                  <a:lnTo>
                    <a:pt x="1184" y="366"/>
                  </a:lnTo>
                  <a:lnTo>
                    <a:pt x="1159" y="366"/>
                  </a:lnTo>
                  <a:lnTo>
                    <a:pt x="1129" y="378"/>
                  </a:lnTo>
                  <a:lnTo>
                    <a:pt x="1091" y="383"/>
                  </a:lnTo>
                  <a:lnTo>
                    <a:pt x="1049" y="370"/>
                  </a:lnTo>
                  <a:lnTo>
                    <a:pt x="1037" y="358"/>
                  </a:lnTo>
                  <a:lnTo>
                    <a:pt x="955" y="353"/>
                  </a:lnTo>
                  <a:lnTo>
                    <a:pt x="904" y="341"/>
                  </a:lnTo>
                  <a:lnTo>
                    <a:pt x="887" y="327"/>
                  </a:lnTo>
                  <a:lnTo>
                    <a:pt x="870" y="293"/>
                  </a:lnTo>
                  <a:lnTo>
                    <a:pt x="870" y="276"/>
                  </a:lnTo>
                  <a:lnTo>
                    <a:pt x="972" y="251"/>
                  </a:lnTo>
                  <a:lnTo>
                    <a:pt x="990" y="231"/>
                  </a:lnTo>
                  <a:lnTo>
                    <a:pt x="981" y="209"/>
                  </a:lnTo>
                  <a:lnTo>
                    <a:pt x="943" y="201"/>
                  </a:lnTo>
                  <a:lnTo>
                    <a:pt x="929" y="189"/>
                  </a:lnTo>
                  <a:lnTo>
                    <a:pt x="718" y="167"/>
                  </a:lnTo>
                  <a:lnTo>
                    <a:pt x="658" y="172"/>
                  </a:lnTo>
                  <a:lnTo>
                    <a:pt x="604" y="205"/>
                  </a:lnTo>
                  <a:lnTo>
                    <a:pt x="557" y="251"/>
                  </a:lnTo>
                  <a:lnTo>
                    <a:pt x="519" y="302"/>
                  </a:lnTo>
                  <a:lnTo>
                    <a:pt x="451" y="325"/>
                  </a:lnTo>
                  <a:lnTo>
                    <a:pt x="370" y="332"/>
                  </a:lnTo>
                  <a:lnTo>
                    <a:pt x="323" y="349"/>
                  </a:lnTo>
                  <a:lnTo>
                    <a:pt x="281" y="403"/>
                  </a:lnTo>
                  <a:lnTo>
                    <a:pt x="230" y="412"/>
                  </a:lnTo>
                  <a:lnTo>
                    <a:pt x="213" y="420"/>
                  </a:lnTo>
                  <a:lnTo>
                    <a:pt x="129" y="482"/>
                  </a:lnTo>
                  <a:lnTo>
                    <a:pt x="120" y="482"/>
                  </a:lnTo>
                  <a:lnTo>
                    <a:pt x="117" y="466"/>
                  </a:lnTo>
                  <a:lnTo>
                    <a:pt x="99" y="449"/>
                  </a:lnTo>
                  <a:lnTo>
                    <a:pt x="0" y="455"/>
                  </a:lnTo>
                  <a:lnTo>
                    <a:pt x="0" y="441"/>
                  </a:lnTo>
                  <a:lnTo>
                    <a:pt x="78" y="396"/>
                  </a:lnTo>
                  <a:lnTo>
                    <a:pt x="133" y="390"/>
                  </a:lnTo>
                  <a:lnTo>
                    <a:pt x="141" y="383"/>
                  </a:lnTo>
                  <a:lnTo>
                    <a:pt x="147" y="366"/>
                  </a:lnTo>
                  <a:lnTo>
                    <a:pt x="147" y="257"/>
                  </a:lnTo>
                  <a:lnTo>
                    <a:pt x="163" y="226"/>
                  </a:lnTo>
                  <a:lnTo>
                    <a:pt x="238" y="176"/>
                  </a:lnTo>
                  <a:lnTo>
                    <a:pt x="337" y="130"/>
                  </a:lnTo>
                  <a:lnTo>
                    <a:pt x="358" y="125"/>
                  </a:lnTo>
                  <a:lnTo>
                    <a:pt x="454" y="79"/>
                  </a:lnTo>
                  <a:lnTo>
                    <a:pt x="675" y="29"/>
                  </a:lnTo>
                  <a:lnTo>
                    <a:pt x="752" y="3"/>
                  </a:lnTo>
                  <a:lnTo>
                    <a:pt x="1003" y="0"/>
                  </a:lnTo>
                  <a:lnTo>
                    <a:pt x="1112" y="20"/>
                  </a:lnTo>
                  <a:lnTo>
                    <a:pt x="1227" y="25"/>
                  </a:lnTo>
                  <a:lnTo>
                    <a:pt x="1295" y="20"/>
                  </a:lnTo>
                  <a:lnTo>
                    <a:pt x="1336" y="54"/>
                  </a:lnTo>
                  <a:lnTo>
                    <a:pt x="1366" y="67"/>
                  </a:lnTo>
                  <a:lnTo>
                    <a:pt x="1490" y="62"/>
                  </a:lnTo>
                  <a:lnTo>
                    <a:pt x="1524" y="79"/>
                  </a:lnTo>
                  <a:lnTo>
                    <a:pt x="1612" y="150"/>
                  </a:lnTo>
                  <a:lnTo>
                    <a:pt x="1637" y="189"/>
                  </a:lnTo>
                  <a:lnTo>
                    <a:pt x="1700" y="240"/>
                  </a:lnTo>
                  <a:lnTo>
                    <a:pt x="1751" y="257"/>
                  </a:lnTo>
                  <a:lnTo>
                    <a:pt x="1879" y="251"/>
                  </a:lnTo>
                  <a:lnTo>
                    <a:pt x="1913" y="273"/>
                  </a:lnTo>
                  <a:lnTo>
                    <a:pt x="1968" y="273"/>
                  </a:lnTo>
                  <a:lnTo>
                    <a:pt x="1985" y="293"/>
                  </a:lnTo>
                  <a:lnTo>
                    <a:pt x="1968" y="293"/>
                  </a:lnTo>
                  <a:lnTo>
                    <a:pt x="1964" y="311"/>
                  </a:lnTo>
                  <a:lnTo>
                    <a:pt x="1989" y="325"/>
                  </a:lnTo>
                  <a:lnTo>
                    <a:pt x="2056" y="335"/>
                  </a:lnTo>
                  <a:lnTo>
                    <a:pt x="2099" y="358"/>
                  </a:lnTo>
                  <a:lnTo>
                    <a:pt x="2167" y="429"/>
                  </a:lnTo>
                  <a:lnTo>
                    <a:pt x="2269" y="458"/>
                  </a:lnTo>
                  <a:lnTo>
                    <a:pt x="2344" y="496"/>
                  </a:lnTo>
                  <a:lnTo>
                    <a:pt x="2394" y="50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74" name="Freeform 348"/>
            <p:cNvSpPr>
              <a:spLocks noChangeAspect="1"/>
            </p:cNvSpPr>
            <p:nvPr/>
          </p:nvSpPr>
          <p:spPr bwMode="gray">
            <a:xfrm rot="20552049">
              <a:off x="3344068" y="3321397"/>
              <a:ext cx="4763" cy="9525"/>
            </a:xfrm>
            <a:custGeom>
              <a:avLst/>
              <a:gdLst/>
              <a:ahLst/>
              <a:cxnLst>
                <a:cxn ang="0">
                  <a:pos x="128" y="5"/>
                </a:cxn>
                <a:cxn ang="0">
                  <a:pos x="136" y="42"/>
                </a:cxn>
                <a:cxn ang="0">
                  <a:pos x="153" y="64"/>
                </a:cxn>
                <a:cxn ang="0">
                  <a:pos x="165" y="128"/>
                </a:cxn>
                <a:cxn ang="0">
                  <a:pos x="77" y="156"/>
                </a:cxn>
                <a:cxn ang="0">
                  <a:pos x="38" y="156"/>
                </a:cxn>
                <a:cxn ang="0">
                  <a:pos x="22" y="144"/>
                </a:cxn>
                <a:cxn ang="0">
                  <a:pos x="8" y="131"/>
                </a:cxn>
                <a:cxn ang="0">
                  <a:pos x="0" y="98"/>
                </a:cxn>
                <a:cxn ang="0">
                  <a:pos x="51" y="123"/>
                </a:cxn>
                <a:cxn ang="0">
                  <a:pos x="63" y="89"/>
                </a:cxn>
                <a:cxn ang="0">
                  <a:pos x="51" y="68"/>
                </a:cxn>
                <a:cxn ang="0">
                  <a:pos x="47" y="42"/>
                </a:cxn>
                <a:cxn ang="0">
                  <a:pos x="51" y="9"/>
                </a:cxn>
                <a:cxn ang="0">
                  <a:pos x="89" y="0"/>
                </a:cxn>
                <a:cxn ang="0">
                  <a:pos x="114" y="5"/>
                </a:cxn>
                <a:cxn ang="0">
                  <a:pos x="128" y="14"/>
                </a:cxn>
                <a:cxn ang="0">
                  <a:pos x="128" y="5"/>
                </a:cxn>
              </a:cxnLst>
              <a:rect l="0" t="0" r="r" b="b"/>
              <a:pathLst>
                <a:path w="165" h="156">
                  <a:moveTo>
                    <a:pt x="128" y="5"/>
                  </a:moveTo>
                  <a:lnTo>
                    <a:pt x="136" y="42"/>
                  </a:lnTo>
                  <a:lnTo>
                    <a:pt x="153" y="64"/>
                  </a:lnTo>
                  <a:lnTo>
                    <a:pt x="165" y="128"/>
                  </a:lnTo>
                  <a:lnTo>
                    <a:pt x="77" y="156"/>
                  </a:lnTo>
                  <a:lnTo>
                    <a:pt x="38" y="156"/>
                  </a:lnTo>
                  <a:lnTo>
                    <a:pt x="22" y="144"/>
                  </a:lnTo>
                  <a:lnTo>
                    <a:pt x="8" y="131"/>
                  </a:lnTo>
                  <a:lnTo>
                    <a:pt x="0" y="98"/>
                  </a:lnTo>
                  <a:lnTo>
                    <a:pt x="51" y="123"/>
                  </a:lnTo>
                  <a:lnTo>
                    <a:pt x="63" y="89"/>
                  </a:lnTo>
                  <a:lnTo>
                    <a:pt x="51" y="68"/>
                  </a:lnTo>
                  <a:lnTo>
                    <a:pt x="47" y="42"/>
                  </a:lnTo>
                  <a:lnTo>
                    <a:pt x="51" y="9"/>
                  </a:lnTo>
                  <a:lnTo>
                    <a:pt x="89" y="0"/>
                  </a:lnTo>
                  <a:lnTo>
                    <a:pt x="114" y="5"/>
                  </a:lnTo>
                  <a:lnTo>
                    <a:pt x="128" y="14"/>
                  </a:lnTo>
                  <a:lnTo>
                    <a:pt x="128" y="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75" name="Freeform 349"/>
            <p:cNvSpPr>
              <a:spLocks noChangeAspect="1"/>
            </p:cNvSpPr>
            <p:nvPr/>
          </p:nvSpPr>
          <p:spPr bwMode="gray">
            <a:xfrm rot="20552049">
              <a:off x="3386931" y="3289647"/>
              <a:ext cx="11113" cy="14288"/>
            </a:xfrm>
            <a:custGeom>
              <a:avLst/>
              <a:gdLst/>
              <a:ahLst/>
              <a:cxnLst>
                <a:cxn ang="0">
                  <a:pos x="211" y="85"/>
                </a:cxn>
                <a:cxn ang="0">
                  <a:pos x="283" y="127"/>
                </a:cxn>
                <a:cxn ang="0">
                  <a:pos x="308" y="156"/>
                </a:cxn>
                <a:cxn ang="0">
                  <a:pos x="317" y="201"/>
                </a:cxn>
                <a:cxn ang="0">
                  <a:pos x="266" y="198"/>
                </a:cxn>
                <a:cxn ang="0">
                  <a:pos x="208" y="156"/>
                </a:cxn>
                <a:cxn ang="0">
                  <a:pos x="169" y="97"/>
                </a:cxn>
                <a:cxn ang="0">
                  <a:pos x="135" y="68"/>
                </a:cxn>
                <a:cxn ang="0">
                  <a:pos x="59" y="59"/>
                </a:cxn>
                <a:cxn ang="0">
                  <a:pos x="38" y="50"/>
                </a:cxn>
                <a:cxn ang="0">
                  <a:pos x="8" y="29"/>
                </a:cxn>
                <a:cxn ang="0">
                  <a:pos x="0" y="17"/>
                </a:cxn>
                <a:cxn ang="0">
                  <a:pos x="0" y="0"/>
                </a:cxn>
                <a:cxn ang="0">
                  <a:pos x="85" y="4"/>
                </a:cxn>
                <a:cxn ang="0">
                  <a:pos x="211" y="85"/>
                </a:cxn>
              </a:cxnLst>
              <a:rect l="0" t="0" r="r" b="b"/>
              <a:pathLst>
                <a:path w="317" h="201">
                  <a:moveTo>
                    <a:pt x="211" y="85"/>
                  </a:moveTo>
                  <a:lnTo>
                    <a:pt x="283" y="127"/>
                  </a:lnTo>
                  <a:lnTo>
                    <a:pt x="308" y="156"/>
                  </a:lnTo>
                  <a:lnTo>
                    <a:pt x="317" y="201"/>
                  </a:lnTo>
                  <a:lnTo>
                    <a:pt x="266" y="198"/>
                  </a:lnTo>
                  <a:lnTo>
                    <a:pt x="208" y="156"/>
                  </a:lnTo>
                  <a:lnTo>
                    <a:pt x="169" y="97"/>
                  </a:lnTo>
                  <a:lnTo>
                    <a:pt x="135" y="68"/>
                  </a:lnTo>
                  <a:lnTo>
                    <a:pt x="59" y="59"/>
                  </a:lnTo>
                  <a:lnTo>
                    <a:pt x="38" y="50"/>
                  </a:lnTo>
                  <a:lnTo>
                    <a:pt x="8" y="29"/>
                  </a:lnTo>
                  <a:lnTo>
                    <a:pt x="0" y="17"/>
                  </a:lnTo>
                  <a:lnTo>
                    <a:pt x="0" y="0"/>
                  </a:lnTo>
                  <a:lnTo>
                    <a:pt x="85" y="4"/>
                  </a:lnTo>
                  <a:lnTo>
                    <a:pt x="211" y="8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76" name="Freeform 350"/>
            <p:cNvSpPr>
              <a:spLocks noChangeAspect="1"/>
            </p:cNvSpPr>
            <p:nvPr/>
          </p:nvSpPr>
          <p:spPr bwMode="gray">
            <a:xfrm rot="20552049">
              <a:off x="3585368" y="3346796"/>
              <a:ext cx="0" cy="4763"/>
            </a:xfrm>
            <a:custGeom>
              <a:avLst/>
              <a:gdLst/>
              <a:ahLst/>
              <a:cxnLst>
                <a:cxn ang="0">
                  <a:pos x="34" y="2"/>
                </a:cxn>
                <a:cxn ang="0">
                  <a:pos x="0" y="0"/>
                </a:cxn>
                <a:cxn ang="0">
                  <a:pos x="11" y="30"/>
                </a:cxn>
                <a:cxn ang="0">
                  <a:pos x="31" y="47"/>
                </a:cxn>
                <a:cxn ang="0">
                  <a:pos x="46" y="42"/>
                </a:cxn>
                <a:cxn ang="0">
                  <a:pos x="46" y="10"/>
                </a:cxn>
                <a:cxn ang="0">
                  <a:pos x="34" y="2"/>
                </a:cxn>
              </a:cxnLst>
              <a:rect l="0" t="0" r="r" b="b"/>
              <a:pathLst>
                <a:path w="46" h="47">
                  <a:moveTo>
                    <a:pt x="34" y="2"/>
                  </a:moveTo>
                  <a:lnTo>
                    <a:pt x="0" y="0"/>
                  </a:lnTo>
                  <a:lnTo>
                    <a:pt x="11" y="30"/>
                  </a:lnTo>
                  <a:lnTo>
                    <a:pt x="31" y="47"/>
                  </a:lnTo>
                  <a:lnTo>
                    <a:pt x="46" y="42"/>
                  </a:lnTo>
                  <a:lnTo>
                    <a:pt x="46" y="10"/>
                  </a:lnTo>
                  <a:lnTo>
                    <a:pt x="34" y="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77" name="Freeform 351"/>
            <p:cNvSpPr>
              <a:spLocks noChangeAspect="1"/>
            </p:cNvSpPr>
            <p:nvPr/>
          </p:nvSpPr>
          <p:spPr bwMode="gray">
            <a:xfrm rot="20552049">
              <a:off x="3626643" y="3413472"/>
              <a:ext cx="1588" cy="6350"/>
            </a:xfrm>
            <a:custGeom>
              <a:avLst/>
              <a:gdLst/>
              <a:ahLst/>
              <a:cxnLst>
                <a:cxn ang="0">
                  <a:pos x="25" y="0"/>
                </a:cxn>
                <a:cxn ang="0">
                  <a:pos x="0" y="97"/>
                </a:cxn>
                <a:cxn ang="0">
                  <a:pos x="25" y="103"/>
                </a:cxn>
                <a:cxn ang="0">
                  <a:pos x="45" y="94"/>
                </a:cxn>
                <a:cxn ang="0">
                  <a:pos x="45" y="62"/>
                </a:cxn>
                <a:cxn ang="0">
                  <a:pos x="39" y="20"/>
                </a:cxn>
                <a:cxn ang="0">
                  <a:pos x="25" y="0"/>
                </a:cxn>
              </a:cxnLst>
              <a:rect l="0" t="0" r="r" b="b"/>
              <a:pathLst>
                <a:path w="45" h="103">
                  <a:moveTo>
                    <a:pt x="25" y="0"/>
                  </a:moveTo>
                  <a:lnTo>
                    <a:pt x="0" y="97"/>
                  </a:lnTo>
                  <a:lnTo>
                    <a:pt x="25" y="103"/>
                  </a:lnTo>
                  <a:lnTo>
                    <a:pt x="45" y="94"/>
                  </a:lnTo>
                  <a:lnTo>
                    <a:pt x="45" y="62"/>
                  </a:lnTo>
                  <a:lnTo>
                    <a:pt x="39" y="20"/>
                  </a:lnTo>
                  <a:lnTo>
                    <a:pt x="25"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878" name="Group 362"/>
            <p:cNvGrpSpPr/>
            <p:nvPr/>
          </p:nvGrpSpPr>
          <p:grpSpPr bwMode="gray">
            <a:xfrm>
              <a:off x="4580730" y="1911697"/>
              <a:ext cx="879476" cy="1109663"/>
              <a:chOff x="4580731" y="1911697"/>
              <a:chExt cx="879476" cy="1109663"/>
            </a:xfrm>
            <a:grpFill/>
          </p:grpSpPr>
          <p:sp>
            <p:nvSpPr>
              <p:cNvPr id="934" name="Freeform 175"/>
              <p:cNvSpPr>
                <a:spLocks noChangeAspect="1"/>
              </p:cNvSpPr>
              <p:nvPr/>
            </p:nvSpPr>
            <p:spPr bwMode="gray">
              <a:xfrm>
                <a:off x="4923631" y="2716560"/>
                <a:ext cx="133350" cy="65088"/>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35" name="Freeform 176"/>
              <p:cNvSpPr>
                <a:spLocks noChangeAspect="1"/>
              </p:cNvSpPr>
              <p:nvPr/>
            </p:nvSpPr>
            <p:spPr bwMode="gray">
              <a:xfrm>
                <a:off x="4783931" y="2875310"/>
                <a:ext cx="7938" cy="4763"/>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36" name="Freeform 177"/>
              <p:cNvSpPr>
                <a:spLocks noChangeAspect="1"/>
              </p:cNvSpPr>
              <p:nvPr/>
            </p:nvSpPr>
            <p:spPr bwMode="gray">
              <a:xfrm>
                <a:off x="4925219" y="2757835"/>
                <a:ext cx="4763" cy="9525"/>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937" name="Group 178"/>
              <p:cNvGrpSpPr>
                <a:grpSpLocks noChangeAspect="1"/>
              </p:cNvGrpSpPr>
              <p:nvPr/>
            </p:nvGrpSpPr>
            <p:grpSpPr bwMode="gray">
              <a:xfrm>
                <a:off x="4876006" y="2765772"/>
                <a:ext cx="204788" cy="242888"/>
                <a:chOff x="2589" y="1903"/>
                <a:chExt cx="129" cy="153"/>
              </a:xfrm>
              <a:grpFill/>
            </p:grpSpPr>
            <p:sp>
              <p:nvSpPr>
                <p:cNvPr id="980" name="Freeform 179"/>
                <p:cNvSpPr>
                  <a:spLocks noChangeAspect="1"/>
                </p:cNvSpPr>
                <p:nvPr/>
              </p:nvSpPr>
              <p:spPr bwMode="gray">
                <a:xfrm>
                  <a:off x="2653" y="2034"/>
                  <a:ext cx="34" cy="22"/>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81" name="Freeform 180"/>
                <p:cNvSpPr>
                  <a:spLocks noChangeAspect="1"/>
                </p:cNvSpPr>
                <p:nvPr/>
              </p:nvSpPr>
              <p:spPr bwMode="gray">
                <a:xfrm>
                  <a:off x="2606" y="1991"/>
                  <a:ext cx="16" cy="35"/>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82" name="Freeform 181"/>
                <p:cNvSpPr>
                  <a:spLocks noChangeAspect="1"/>
                </p:cNvSpPr>
                <p:nvPr/>
              </p:nvSpPr>
              <p:spPr bwMode="gray">
                <a:xfrm>
                  <a:off x="2589" y="1903"/>
                  <a:ext cx="129" cy="136"/>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938" name="Freeform 182"/>
              <p:cNvSpPr>
                <a:spLocks noChangeAspect="1"/>
              </p:cNvSpPr>
              <p:nvPr/>
            </p:nvSpPr>
            <p:spPr bwMode="gray">
              <a:xfrm>
                <a:off x="4858544" y="2684810"/>
                <a:ext cx="11113" cy="17463"/>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39" name="Freeform 183"/>
              <p:cNvSpPr>
                <a:spLocks noChangeAspect="1"/>
              </p:cNvSpPr>
              <p:nvPr/>
            </p:nvSpPr>
            <p:spPr bwMode="gray">
              <a:xfrm>
                <a:off x="4863306" y="2751485"/>
                <a:ext cx="77788" cy="44450"/>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40" name="Freeform 184"/>
              <p:cNvSpPr>
                <a:spLocks noChangeAspect="1"/>
              </p:cNvSpPr>
              <p:nvPr/>
            </p:nvSpPr>
            <p:spPr bwMode="gray">
              <a:xfrm>
                <a:off x="4809331" y="2649885"/>
                <a:ext cx="58738" cy="50800"/>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41" name="Freeform 185"/>
              <p:cNvSpPr>
                <a:spLocks noChangeAspect="1"/>
              </p:cNvSpPr>
              <p:nvPr/>
            </p:nvSpPr>
            <p:spPr bwMode="gray">
              <a:xfrm>
                <a:off x="4601369" y="2848322"/>
                <a:ext cx="217488" cy="173038"/>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42" name="Freeform 186"/>
              <p:cNvSpPr>
                <a:spLocks noChangeAspect="1"/>
              </p:cNvSpPr>
              <p:nvPr/>
            </p:nvSpPr>
            <p:spPr bwMode="gray">
              <a:xfrm>
                <a:off x="4820444" y="2592735"/>
                <a:ext cx="63500" cy="76200"/>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43" name="Freeform 187"/>
              <p:cNvSpPr>
                <a:spLocks noChangeAspect="1"/>
              </p:cNvSpPr>
              <p:nvPr/>
            </p:nvSpPr>
            <p:spPr bwMode="gray">
              <a:xfrm>
                <a:off x="4598194" y="2888010"/>
                <a:ext cx="55563" cy="112713"/>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44" name="Freeform 188"/>
              <p:cNvSpPr>
                <a:spLocks noChangeAspect="1"/>
              </p:cNvSpPr>
              <p:nvPr/>
            </p:nvSpPr>
            <p:spPr bwMode="gray">
              <a:xfrm>
                <a:off x="4863306" y="2549872"/>
                <a:ext cx="155575" cy="207963"/>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945" name="Group 189"/>
              <p:cNvGrpSpPr>
                <a:grpSpLocks noChangeAspect="1"/>
              </p:cNvGrpSpPr>
              <p:nvPr/>
            </p:nvGrpSpPr>
            <p:grpSpPr bwMode="gray">
              <a:xfrm>
                <a:off x="4679156" y="2659410"/>
                <a:ext cx="247650" cy="244475"/>
                <a:chOff x="2465" y="1836"/>
                <a:chExt cx="156" cy="154"/>
              </a:xfrm>
              <a:grpFill/>
            </p:grpSpPr>
            <p:sp>
              <p:nvSpPr>
                <p:cNvPr id="978" name="Freeform 190"/>
                <p:cNvSpPr>
                  <a:spLocks noChangeAspect="1"/>
                </p:cNvSpPr>
                <p:nvPr/>
              </p:nvSpPr>
              <p:spPr bwMode="gray">
                <a:xfrm>
                  <a:off x="2610" y="1966"/>
                  <a:ext cx="11" cy="24"/>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79" name="Freeform 191"/>
                <p:cNvSpPr>
                  <a:spLocks noChangeAspect="1"/>
                </p:cNvSpPr>
                <p:nvPr/>
              </p:nvSpPr>
              <p:spPr bwMode="gray">
                <a:xfrm>
                  <a:off x="2465" y="1836"/>
                  <a:ext cx="139" cy="140"/>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grpSp>
            <p:nvGrpSpPr>
              <p:cNvPr id="946" name="Group 192"/>
              <p:cNvGrpSpPr>
                <a:grpSpLocks noChangeAspect="1"/>
              </p:cNvGrpSpPr>
              <p:nvPr/>
            </p:nvGrpSpPr>
            <p:grpSpPr bwMode="gray">
              <a:xfrm>
                <a:off x="4620419" y="2430810"/>
                <a:ext cx="171450" cy="258763"/>
                <a:chOff x="2428" y="1692"/>
                <a:chExt cx="108" cy="163"/>
              </a:xfrm>
              <a:grpFill/>
            </p:grpSpPr>
            <p:sp>
              <p:nvSpPr>
                <p:cNvPr id="976" name="Freeform 193"/>
                <p:cNvSpPr>
                  <a:spLocks noChangeAspect="1"/>
                </p:cNvSpPr>
                <p:nvPr/>
              </p:nvSpPr>
              <p:spPr bwMode="gray">
                <a:xfrm>
                  <a:off x="2450" y="1692"/>
                  <a:ext cx="86" cy="163"/>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grp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977" name="Freeform 194"/>
                <p:cNvSpPr>
                  <a:spLocks noChangeAspect="1"/>
                </p:cNvSpPr>
                <p:nvPr/>
              </p:nvSpPr>
              <p:spPr bwMode="gray">
                <a:xfrm>
                  <a:off x="2428" y="1759"/>
                  <a:ext cx="28" cy="25"/>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grp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grpSp>
          <p:sp>
            <p:nvSpPr>
              <p:cNvPr id="947" name="Freeform 195"/>
              <p:cNvSpPr>
                <a:spLocks noChangeAspect="1"/>
              </p:cNvSpPr>
              <p:nvPr/>
            </p:nvSpPr>
            <p:spPr bwMode="gray">
              <a:xfrm>
                <a:off x="4580731" y="2540347"/>
                <a:ext cx="74613" cy="109538"/>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48" name="Freeform 196"/>
              <p:cNvSpPr>
                <a:spLocks noChangeAspect="1"/>
              </p:cNvSpPr>
              <p:nvPr/>
            </p:nvSpPr>
            <p:spPr bwMode="gray">
              <a:xfrm>
                <a:off x="5144294" y="2622897"/>
                <a:ext cx="315913" cy="209550"/>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49" name="Freeform 197"/>
              <p:cNvSpPr>
                <a:spLocks noChangeAspect="1"/>
              </p:cNvSpPr>
              <p:nvPr/>
            </p:nvSpPr>
            <p:spPr bwMode="gray">
              <a:xfrm>
                <a:off x="5222081" y="2729260"/>
                <a:ext cx="60325" cy="76200"/>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50" name="Freeform 198"/>
              <p:cNvSpPr>
                <a:spLocks noChangeAspect="1"/>
              </p:cNvSpPr>
              <p:nvPr/>
            </p:nvSpPr>
            <p:spPr bwMode="gray">
              <a:xfrm>
                <a:off x="5161756" y="2510185"/>
                <a:ext cx="169863" cy="142875"/>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solidFill>
                <a:schemeClr val="accent6">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grpSp>
            <p:nvGrpSpPr>
              <p:cNvPr id="951" name="Group 199"/>
              <p:cNvGrpSpPr>
                <a:grpSpLocks noChangeAspect="1"/>
              </p:cNvGrpSpPr>
              <p:nvPr/>
            </p:nvGrpSpPr>
            <p:grpSpPr bwMode="gray">
              <a:xfrm>
                <a:off x="5033169" y="2808635"/>
                <a:ext cx="68263" cy="68263"/>
                <a:chOff x="2688" y="1930"/>
                <a:chExt cx="43" cy="43"/>
              </a:xfrm>
              <a:grpFill/>
            </p:grpSpPr>
            <p:sp>
              <p:nvSpPr>
                <p:cNvPr id="974" name="Freeform 200"/>
                <p:cNvSpPr>
                  <a:spLocks noChangeAspect="1"/>
                </p:cNvSpPr>
                <p:nvPr/>
              </p:nvSpPr>
              <p:spPr bwMode="gray">
                <a:xfrm>
                  <a:off x="2688" y="1930"/>
                  <a:ext cx="43" cy="43"/>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75" name="Freeform 201"/>
                <p:cNvSpPr>
                  <a:spLocks noChangeAspect="1"/>
                </p:cNvSpPr>
                <p:nvPr/>
              </p:nvSpPr>
              <p:spPr bwMode="gray">
                <a:xfrm>
                  <a:off x="2703" y="1965"/>
                  <a:ext cx="15" cy="8"/>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952" name="Freeform 202"/>
              <p:cNvSpPr>
                <a:spLocks noChangeAspect="1"/>
              </p:cNvSpPr>
              <p:nvPr/>
            </p:nvSpPr>
            <p:spPr bwMode="gray">
              <a:xfrm>
                <a:off x="5128419" y="2973735"/>
                <a:ext cx="39688" cy="41275"/>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53" name="Freeform 203"/>
              <p:cNvSpPr>
                <a:spLocks noChangeAspect="1"/>
              </p:cNvSpPr>
              <p:nvPr/>
            </p:nvSpPr>
            <p:spPr bwMode="gray">
              <a:xfrm>
                <a:off x="5110956" y="2894360"/>
                <a:ext cx="111125" cy="93663"/>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54" name="Freeform 204"/>
              <p:cNvSpPr>
                <a:spLocks noChangeAspect="1"/>
              </p:cNvSpPr>
              <p:nvPr/>
            </p:nvSpPr>
            <p:spPr bwMode="gray">
              <a:xfrm>
                <a:off x="5039519" y="2727672"/>
                <a:ext cx="117475" cy="69850"/>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solidFill>
                <a:schemeClr val="accent6">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955" name="Freeform 205"/>
              <p:cNvSpPr>
                <a:spLocks noChangeAspect="1"/>
              </p:cNvSpPr>
              <p:nvPr/>
            </p:nvSpPr>
            <p:spPr bwMode="gray">
              <a:xfrm>
                <a:off x="5004594" y="2549872"/>
                <a:ext cx="173038" cy="163513"/>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56" name="Freeform 206"/>
              <p:cNvSpPr>
                <a:spLocks noChangeAspect="1"/>
              </p:cNvSpPr>
              <p:nvPr/>
            </p:nvSpPr>
            <p:spPr bwMode="gray">
              <a:xfrm>
                <a:off x="5123656" y="2449860"/>
                <a:ext cx="128588" cy="76200"/>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57" name="Freeform 207"/>
              <p:cNvSpPr>
                <a:spLocks noChangeAspect="1"/>
              </p:cNvSpPr>
              <p:nvPr/>
            </p:nvSpPr>
            <p:spPr bwMode="gray">
              <a:xfrm>
                <a:off x="4966494" y="2657822"/>
                <a:ext cx="120650" cy="71438"/>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958" name="Freeform 208"/>
              <p:cNvSpPr>
                <a:spLocks noChangeAspect="1"/>
              </p:cNvSpPr>
              <p:nvPr/>
            </p:nvSpPr>
            <p:spPr bwMode="gray">
              <a:xfrm>
                <a:off x="5149056" y="2837210"/>
                <a:ext cx="109538" cy="68263"/>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59" name="Freeform 209"/>
              <p:cNvSpPr>
                <a:spLocks noChangeAspect="1"/>
              </p:cNvSpPr>
              <p:nvPr/>
            </p:nvSpPr>
            <p:spPr bwMode="gray">
              <a:xfrm>
                <a:off x="4995069" y="2778472"/>
                <a:ext cx="101600" cy="87313"/>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60" name="Freeform 210"/>
              <p:cNvSpPr>
                <a:spLocks noChangeAspect="1"/>
              </p:cNvSpPr>
              <p:nvPr/>
            </p:nvSpPr>
            <p:spPr bwMode="gray">
              <a:xfrm>
                <a:off x="5095081" y="2873722"/>
                <a:ext cx="31750" cy="68263"/>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61" name="Freeform 211"/>
              <p:cNvSpPr>
                <a:spLocks noChangeAspect="1"/>
              </p:cNvSpPr>
              <p:nvPr/>
            </p:nvSpPr>
            <p:spPr bwMode="gray">
              <a:xfrm>
                <a:off x="5125244" y="2500660"/>
                <a:ext cx="100013" cy="76200"/>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62" name="Freeform 213"/>
              <p:cNvSpPr>
                <a:spLocks noChangeAspect="1"/>
              </p:cNvSpPr>
              <p:nvPr/>
            </p:nvSpPr>
            <p:spPr bwMode="gray">
              <a:xfrm>
                <a:off x="5053806" y="2700685"/>
                <a:ext cx="95250" cy="47625"/>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63" name="Freeform 214"/>
              <p:cNvSpPr>
                <a:spLocks noChangeAspect="1"/>
              </p:cNvSpPr>
              <p:nvPr/>
            </p:nvSpPr>
            <p:spPr bwMode="gray">
              <a:xfrm>
                <a:off x="4993481" y="2770535"/>
                <a:ext cx="53975" cy="39688"/>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64" name="Freeform 215"/>
              <p:cNvSpPr>
                <a:spLocks noChangeAspect="1"/>
              </p:cNvSpPr>
              <p:nvPr/>
            </p:nvSpPr>
            <p:spPr bwMode="gray">
              <a:xfrm>
                <a:off x="5117306" y="2881660"/>
                <a:ext cx="41275" cy="33338"/>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65" name="Freeform 216"/>
              <p:cNvSpPr>
                <a:spLocks noChangeAspect="1"/>
              </p:cNvSpPr>
              <p:nvPr/>
            </p:nvSpPr>
            <p:spPr bwMode="gray">
              <a:xfrm>
                <a:off x="5110956" y="2734022"/>
                <a:ext cx="165100" cy="115888"/>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66" name="Freeform 217"/>
              <p:cNvSpPr>
                <a:spLocks noChangeAspect="1"/>
              </p:cNvSpPr>
              <p:nvPr/>
            </p:nvSpPr>
            <p:spPr bwMode="gray">
              <a:xfrm>
                <a:off x="5166519" y="2397472"/>
                <a:ext cx="85725" cy="69850"/>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67" name="Freeform 218"/>
              <p:cNvSpPr>
                <a:spLocks noChangeAspect="1"/>
              </p:cNvSpPr>
              <p:nvPr/>
            </p:nvSpPr>
            <p:spPr bwMode="gray">
              <a:xfrm>
                <a:off x="5117306" y="1964085"/>
                <a:ext cx="188913" cy="425450"/>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solidFill>
                <a:schemeClr val="accent6">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968" name="Freeform 219"/>
              <p:cNvSpPr>
                <a:spLocks noChangeAspect="1"/>
              </p:cNvSpPr>
              <p:nvPr/>
            </p:nvSpPr>
            <p:spPr bwMode="gray">
              <a:xfrm>
                <a:off x="4899819" y="2460972"/>
                <a:ext cx="49213" cy="90488"/>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69" name="Freeform 220"/>
              <p:cNvSpPr>
                <a:spLocks noChangeAspect="1"/>
              </p:cNvSpPr>
              <p:nvPr/>
            </p:nvSpPr>
            <p:spPr bwMode="gray">
              <a:xfrm>
                <a:off x="4847431" y="1911697"/>
                <a:ext cx="452438" cy="539750"/>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70" name="Freeform 221"/>
              <p:cNvSpPr>
                <a:spLocks noChangeAspect="1"/>
              </p:cNvSpPr>
              <p:nvPr/>
            </p:nvSpPr>
            <p:spPr bwMode="gray">
              <a:xfrm>
                <a:off x="4952206" y="2013297"/>
                <a:ext cx="227013" cy="520700"/>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971" name="Group 359"/>
              <p:cNvGrpSpPr/>
              <p:nvPr/>
            </p:nvGrpSpPr>
            <p:grpSpPr bwMode="gray">
              <a:xfrm>
                <a:off x="5080794" y="2788583"/>
                <a:ext cx="75600" cy="108000"/>
                <a:chOff x="4160739" y="2986112"/>
                <a:chExt cx="187325" cy="233362"/>
              </a:xfrm>
              <a:grpFill/>
            </p:grpSpPr>
            <p:sp>
              <p:nvSpPr>
                <p:cNvPr id="972" name="Freeform 45"/>
                <p:cNvSpPr>
                  <a:spLocks noChangeAspect="1"/>
                </p:cNvSpPr>
                <p:nvPr/>
              </p:nvSpPr>
              <p:spPr bwMode="gray">
                <a:xfrm>
                  <a:off x="4171851" y="2986112"/>
                  <a:ext cx="176213" cy="225425"/>
                </a:xfrm>
                <a:custGeom>
                  <a:avLst/>
                  <a:gdLst/>
                  <a:ahLst/>
                  <a:cxnLst>
                    <a:cxn ang="0">
                      <a:pos x="72" y="248"/>
                    </a:cxn>
                    <a:cxn ang="0">
                      <a:pos x="72" y="234"/>
                    </a:cxn>
                    <a:cxn ang="0">
                      <a:pos x="82" y="239"/>
                    </a:cxn>
                    <a:cxn ang="0">
                      <a:pos x="91" y="229"/>
                    </a:cxn>
                    <a:cxn ang="0">
                      <a:pos x="34" y="195"/>
                    </a:cxn>
                    <a:cxn ang="0">
                      <a:pos x="34" y="185"/>
                    </a:cxn>
                    <a:cxn ang="0">
                      <a:pos x="39" y="176"/>
                    </a:cxn>
                    <a:cxn ang="0">
                      <a:pos x="48" y="176"/>
                    </a:cxn>
                    <a:cxn ang="0">
                      <a:pos x="39" y="151"/>
                    </a:cxn>
                    <a:cxn ang="0">
                      <a:pos x="53" y="151"/>
                    </a:cxn>
                    <a:cxn ang="0">
                      <a:pos x="53" y="147"/>
                    </a:cxn>
                    <a:cxn ang="0">
                      <a:pos x="29" y="132"/>
                    </a:cxn>
                    <a:cxn ang="0">
                      <a:pos x="43" y="97"/>
                    </a:cxn>
                    <a:cxn ang="0">
                      <a:pos x="24" y="88"/>
                    </a:cxn>
                    <a:cxn ang="0">
                      <a:pos x="29" y="77"/>
                    </a:cxn>
                    <a:cxn ang="0">
                      <a:pos x="43" y="72"/>
                    </a:cxn>
                    <a:cxn ang="0">
                      <a:pos x="15" y="58"/>
                    </a:cxn>
                    <a:cxn ang="0">
                      <a:pos x="10" y="34"/>
                    </a:cxn>
                    <a:cxn ang="0">
                      <a:pos x="0" y="23"/>
                    </a:cxn>
                    <a:cxn ang="0">
                      <a:pos x="43" y="4"/>
                    </a:cxn>
                    <a:cxn ang="0">
                      <a:pos x="62" y="0"/>
                    </a:cxn>
                    <a:cxn ang="0">
                      <a:pos x="72" y="4"/>
                    </a:cxn>
                    <a:cxn ang="0">
                      <a:pos x="91" y="14"/>
                    </a:cxn>
                    <a:cxn ang="0">
                      <a:pos x="101" y="34"/>
                    </a:cxn>
                    <a:cxn ang="0">
                      <a:pos x="115" y="58"/>
                    </a:cxn>
                    <a:cxn ang="0">
                      <a:pos x="134" y="67"/>
                    </a:cxn>
                    <a:cxn ang="0">
                      <a:pos x="139" y="88"/>
                    </a:cxn>
                    <a:cxn ang="0">
                      <a:pos x="153" y="97"/>
                    </a:cxn>
                    <a:cxn ang="0">
                      <a:pos x="168" y="102"/>
                    </a:cxn>
                    <a:cxn ang="0">
                      <a:pos x="187" y="92"/>
                    </a:cxn>
                    <a:cxn ang="0">
                      <a:pos x="187" y="112"/>
                    </a:cxn>
                    <a:cxn ang="0">
                      <a:pos x="206" y="132"/>
                    </a:cxn>
                    <a:cxn ang="0">
                      <a:pos x="192" y="156"/>
                    </a:cxn>
                    <a:cxn ang="0">
                      <a:pos x="201" y="190"/>
                    </a:cxn>
                    <a:cxn ang="0">
                      <a:pos x="211" y="215"/>
                    </a:cxn>
                    <a:cxn ang="0">
                      <a:pos x="201" y="239"/>
                    </a:cxn>
                    <a:cxn ang="0">
                      <a:pos x="201" y="259"/>
                    </a:cxn>
                    <a:cxn ang="0">
                      <a:pos x="192" y="254"/>
                    </a:cxn>
                    <a:cxn ang="0">
                      <a:pos x="149" y="254"/>
                    </a:cxn>
                    <a:cxn ang="0">
                      <a:pos x="134" y="264"/>
                    </a:cxn>
                    <a:cxn ang="0">
                      <a:pos x="115" y="278"/>
                    </a:cxn>
                    <a:cxn ang="0">
                      <a:pos x="115" y="289"/>
                    </a:cxn>
                    <a:cxn ang="0">
                      <a:pos x="110" y="294"/>
                    </a:cxn>
                    <a:cxn ang="0">
                      <a:pos x="101" y="269"/>
                    </a:cxn>
                    <a:cxn ang="0">
                      <a:pos x="86" y="254"/>
                    </a:cxn>
                    <a:cxn ang="0">
                      <a:pos x="72" y="248"/>
                    </a:cxn>
                  </a:cxnLst>
                  <a:rect l="0" t="0" r="r" b="b"/>
                  <a:pathLst>
                    <a:path w="212" h="295">
                      <a:moveTo>
                        <a:pt x="72" y="248"/>
                      </a:moveTo>
                      <a:lnTo>
                        <a:pt x="72" y="234"/>
                      </a:lnTo>
                      <a:lnTo>
                        <a:pt x="82" y="239"/>
                      </a:lnTo>
                      <a:lnTo>
                        <a:pt x="91" y="229"/>
                      </a:lnTo>
                      <a:lnTo>
                        <a:pt x="34" y="195"/>
                      </a:lnTo>
                      <a:lnTo>
                        <a:pt x="34" y="185"/>
                      </a:lnTo>
                      <a:lnTo>
                        <a:pt x="39" y="176"/>
                      </a:lnTo>
                      <a:lnTo>
                        <a:pt x="48" y="176"/>
                      </a:lnTo>
                      <a:lnTo>
                        <a:pt x="39" y="151"/>
                      </a:lnTo>
                      <a:lnTo>
                        <a:pt x="53" y="151"/>
                      </a:lnTo>
                      <a:lnTo>
                        <a:pt x="53" y="147"/>
                      </a:lnTo>
                      <a:lnTo>
                        <a:pt x="29" y="132"/>
                      </a:lnTo>
                      <a:lnTo>
                        <a:pt x="43" y="97"/>
                      </a:lnTo>
                      <a:lnTo>
                        <a:pt x="24" y="88"/>
                      </a:lnTo>
                      <a:lnTo>
                        <a:pt x="29" y="77"/>
                      </a:lnTo>
                      <a:lnTo>
                        <a:pt x="43" y="72"/>
                      </a:lnTo>
                      <a:lnTo>
                        <a:pt x="15" y="58"/>
                      </a:lnTo>
                      <a:lnTo>
                        <a:pt x="10" y="34"/>
                      </a:lnTo>
                      <a:lnTo>
                        <a:pt x="0" y="23"/>
                      </a:lnTo>
                      <a:lnTo>
                        <a:pt x="43" y="4"/>
                      </a:lnTo>
                      <a:lnTo>
                        <a:pt x="62" y="0"/>
                      </a:lnTo>
                      <a:lnTo>
                        <a:pt x="72" y="4"/>
                      </a:lnTo>
                      <a:lnTo>
                        <a:pt x="91" y="14"/>
                      </a:lnTo>
                      <a:lnTo>
                        <a:pt x="101" y="34"/>
                      </a:lnTo>
                      <a:lnTo>
                        <a:pt x="115" y="58"/>
                      </a:lnTo>
                      <a:lnTo>
                        <a:pt x="134" y="67"/>
                      </a:lnTo>
                      <a:lnTo>
                        <a:pt x="139" y="88"/>
                      </a:lnTo>
                      <a:lnTo>
                        <a:pt x="153" y="97"/>
                      </a:lnTo>
                      <a:lnTo>
                        <a:pt x="168" y="102"/>
                      </a:lnTo>
                      <a:lnTo>
                        <a:pt x="187" y="92"/>
                      </a:lnTo>
                      <a:lnTo>
                        <a:pt x="187" y="112"/>
                      </a:lnTo>
                      <a:lnTo>
                        <a:pt x="206" y="132"/>
                      </a:lnTo>
                      <a:lnTo>
                        <a:pt x="192" y="156"/>
                      </a:lnTo>
                      <a:lnTo>
                        <a:pt x="201" y="190"/>
                      </a:lnTo>
                      <a:lnTo>
                        <a:pt x="211" y="215"/>
                      </a:lnTo>
                      <a:lnTo>
                        <a:pt x="201" y="239"/>
                      </a:lnTo>
                      <a:lnTo>
                        <a:pt x="201" y="259"/>
                      </a:lnTo>
                      <a:lnTo>
                        <a:pt x="192" y="254"/>
                      </a:lnTo>
                      <a:lnTo>
                        <a:pt x="149" y="254"/>
                      </a:lnTo>
                      <a:lnTo>
                        <a:pt x="134" y="264"/>
                      </a:lnTo>
                      <a:lnTo>
                        <a:pt x="115" y="278"/>
                      </a:lnTo>
                      <a:lnTo>
                        <a:pt x="115" y="289"/>
                      </a:lnTo>
                      <a:lnTo>
                        <a:pt x="110" y="294"/>
                      </a:lnTo>
                      <a:lnTo>
                        <a:pt x="101" y="269"/>
                      </a:lnTo>
                      <a:lnTo>
                        <a:pt x="86" y="254"/>
                      </a:lnTo>
                      <a:lnTo>
                        <a:pt x="72" y="248"/>
                      </a:lnTo>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73" name="Freeform 46"/>
                <p:cNvSpPr>
                  <a:spLocks noChangeAspect="1"/>
                </p:cNvSpPr>
                <p:nvPr/>
              </p:nvSpPr>
              <p:spPr bwMode="gray">
                <a:xfrm>
                  <a:off x="4160739" y="3130574"/>
                  <a:ext cx="87313" cy="88900"/>
                </a:xfrm>
                <a:custGeom>
                  <a:avLst/>
                  <a:gdLst/>
                  <a:ahLst/>
                  <a:cxnLst>
                    <a:cxn ang="0">
                      <a:pos x="9" y="68"/>
                    </a:cxn>
                    <a:cxn ang="0">
                      <a:pos x="14" y="63"/>
                    </a:cxn>
                    <a:cxn ang="0">
                      <a:pos x="9" y="35"/>
                    </a:cxn>
                    <a:cxn ang="0">
                      <a:pos x="24" y="29"/>
                    </a:cxn>
                    <a:cxn ang="0">
                      <a:pos x="14" y="5"/>
                    </a:cxn>
                    <a:cxn ang="0">
                      <a:pos x="24" y="0"/>
                    </a:cxn>
                    <a:cxn ang="0">
                      <a:pos x="43" y="16"/>
                    </a:cxn>
                    <a:cxn ang="0">
                      <a:pos x="38" y="0"/>
                    </a:cxn>
                    <a:cxn ang="0">
                      <a:pos x="48" y="0"/>
                    </a:cxn>
                    <a:cxn ang="0">
                      <a:pos x="48" y="10"/>
                    </a:cxn>
                    <a:cxn ang="0">
                      <a:pos x="105" y="44"/>
                    </a:cxn>
                    <a:cxn ang="0">
                      <a:pos x="96" y="54"/>
                    </a:cxn>
                    <a:cxn ang="0">
                      <a:pos x="86" y="49"/>
                    </a:cxn>
                    <a:cxn ang="0">
                      <a:pos x="86" y="63"/>
                    </a:cxn>
                    <a:cxn ang="0">
                      <a:pos x="76" y="63"/>
                    </a:cxn>
                    <a:cxn ang="0">
                      <a:pos x="67" y="79"/>
                    </a:cxn>
                    <a:cxn ang="0">
                      <a:pos x="67" y="103"/>
                    </a:cxn>
                    <a:cxn ang="0">
                      <a:pos x="62" y="117"/>
                    </a:cxn>
                    <a:cxn ang="0">
                      <a:pos x="43" y="112"/>
                    </a:cxn>
                    <a:cxn ang="0">
                      <a:pos x="19" y="87"/>
                    </a:cxn>
                    <a:cxn ang="0">
                      <a:pos x="0" y="84"/>
                    </a:cxn>
                    <a:cxn ang="0">
                      <a:pos x="9" y="68"/>
                    </a:cxn>
                  </a:cxnLst>
                  <a:rect l="0" t="0" r="r" b="b"/>
                  <a:pathLst>
                    <a:path w="106" h="118">
                      <a:moveTo>
                        <a:pt x="9" y="68"/>
                      </a:moveTo>
                      <a:lnTo>
                        <a:pt x="14" y="63"/>
                      </a:lnTo>
                      <a:lnTo>
                        <a:pt x="9" y="35"/>
                      </a:lnTo>
                      <a:lnTo>
                        <a:pt x="24" y="29"/>
                      </a:lnTo>
                      <a:lnTo>
                        <a:pt x="14" y="5"/>
                      </a:lnTo>
                      <a:lnTo>
                        <a:pt x="24" y="0"/>
                      </a:lnTo>
                      <a:lnTo>
                        <a:pt x="43" y="16"/>
                      </a:lnTo>
                      <a:lnTo>
                        <a:pt x="38" y="0"/>
                      </a:lnTo>
                      <a:lnTo>
                        <a:pt x="48" y="0"/>
                      </a:lnTo>
                      <a:lnTo>
                        <a:pt x="48" y="10"/>
                      </a:lnTo>
                      <a:lnTo>
                        <a:pt x="105" y="44"/>
                      </a:lnTo>
                      <a:lnTo>
                        <a:pt x="96" y="54"/>
                      </a:lnTo>
                      <a:lnTo>
                        <a:pt x="86" y="49"/>
                      </a:lnTo>
                      <a:lnTo>
                        <a:pt x="86" y="63"/>
                      </a:lnTo>
                      <a:lnTo>
                        <a:pt x="76" y="63"/>
                      </a:lnTo>
                      <a:lnTo>
                        <a:pt x="67" y="79"/>
                      </a:lnTo>
                      <a:lnTo>
                        <a:pt x="67" y="103"/>
                      </a:lnTo>
                      <a:lnTo>
                        <a:pt x="62" y="117"/>
                      </a:lnTo>
                      <a:lnTo>
                        <a:pt x="43" y="112"/>
                      </a:lnTo>
                      <a:lnTo>
                        <a:pt x="19" y="87"/>
                      </a:lnTo>
                      <a:lnTo>
                        <a:pt x="0" y="84"/>
                      </a:lnTo>
                      <a:lnTo>
                        <a:pt x="9" y="68"/>
                      </a:lnTo>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grpSp>
        <p:grpSp>
          <p:nvGrpSpPr>
            <p:cNvPr id="879" name="Group 368"/>
            <p:cNvGrpSpPr/>
            <p:nvPr/>
          </p:nvGrpSpPr>
          <p:grpSpPr bwMode="gray">
            <a:xfrm>
              <a:off x="4455318" y="2994372"/>
              <a:ext cx="1196974" cy="1339850"/>
              <a:chOff x="4455318" y="2994372"/>
              <a:chExt cx="1196974" cy="1339850"/>
            </a:xfrm>
            <a:grpFill/>
          </p:grpSpPr>
          <p:sp>
            <p:nvSpPr>
              <p:cNvPr id="880" name="Freeform 222"/>
              <p:cNvSpPr>
                <a:spLocks noChangeAspect="1"/>
              </p:cNvSpPr>
              <p:nvPr/>
            </p:nvSpPr>
            <p:spPr bwMode="gray">
              <a:xfrm>
                <a:off x="4918868" y="3083272"/>
                <a:ext cx="276225" cy="265113"/>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81" name="Freeform 223"/>
              <p:cNvSpPr>
                <a:spLocks noChangeAspect="1"/>
              </p:cNvSpPr>
              <p:nvPr/>
            </p:nvSpPr>
            <p:spPr bwMode="gray">
              <a:xfrm>
                <a:off x="4464843" y="3192809"/>
                <a:ext cx="146050" cy="127000"/>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882" name="Group 367"/>
              <p:cNvGrpSpPr/>
              <p:nvPr/>
            </p:nvGrpSpPr>
            <p:grpSpPr bwMode="gray">
              <a:xfrm>
                <a:off x="4455318" y="2994372"/>
                <a:ext cx="1196974" cy="1339850"/>
                <a:chOff x="4455318" y="2994372"/>
                <a:chExt cx="1196974" cy="1339850"/>
              </a:xfrm>
              <a:grpFill/>
            </p:grpSpPr>
            <p:sp>
              <p:nvSpPr>
                <p:cNvPr id="883" name="Freeform 225"/>
                <p:cNvSpPr>
                  <a:spLocks noChangeAspect="1"/>
                </p:cNvSpPr>
                <p:nvPr/>
              </p:nvSpPr>
              <p:spPr bwMode="gray">
                <a:xfrm>
                  <a:off x="4704556" y="3497609"/>
                  <a:ext cx="77788" cy="114300"/>
                </a:xfrm>
                <a:custGeom>
                  <a:avLst/>
                  <a:gdLst/>
                  <a:ahLst/>
                  <a:cxnLst>
                    <a:cxn ang="0">
                      <a:pos x="239" y="279"/>
                    </a:cxn>
                    <a:cxn ang="0">
                      <a:pos x="215" y="252"/>
                    </a:cxn>
                    <a:cxn ang="0">
                      <a:pos x="209" y="231"/>
                    </a:cxn>
                    <a:cxn ang="0">
                      <a:pos x="209" y="188"/>
                    </a:cxn>
                    <a:cxn ang="0">
                      <a:pos x="204" y="114"/>
                    </a:cxn>
                    <a:cxn ang="0">
                      <a:pos x="200" y="95"/>
                    </a:cxn>
                    <a:cxn ang="0">
                      <a:pos x="194" y="68"/>
                    </a:cxn>
                    <a:cxn ang="0">
                      <a:pos x="187" y="48"/>
                    </a:cxn>
                    <a:cxn ang="0">
                      <a:pos x="176" y="33"/>
                    </a:cxn>
                    <a:cxn ang="0">
                      <a:pos x="166" y="21"/>
                    </a:cxn>
                    <a:cxn ang="0">
                      <a:pos x="170" y="11"/>
                    </a:cxn>
                    <a:cxn ang="0">
                      <a:pos x="172" y="5"/>
                    </a:cxn>
                    <a:cxn ang="0">
                      <a:pos x="162" y="3"/>
                    </a:cxn>
                    <a:cxn ang="0">
                      <a:pos x="145" y="3"/>
                    </a:cxn>
                    <a:cxn ang="0">
                      <a:pos x="129" y="12"/>
                    </a:cxn>
                    <a:cxn ang="0">
                      <a:pos x="86" y="6"/>
                    </a:cxn>
                    <a:cxn ang="0">
                      <a:pos x="47" y="5"/>
                    </a:cxn>
                    <a:cxn ang="0">
                      <a:pos x="19" y="8"/>
                    </a:cxn>
                    <a:cxn ang="0">
                      <a:pos x="14" y="24"/>
                    </a:cxn>
                    <a:cxn ang="0">
                      <a:pos x="20" y="35"/>
                    </a:cxn>
                    <a:cxn ang="0">
                      <a:pos x="24" y="44"/>
                    </a:cxn>
                    <a:cxn ang="0">
                      <a:pos x="25" y="65"/>
                    </a:cxn>
                    <a:cxn ang="0">
                      <a:pos x="25" y="82"/>
                    </a:cxn>
                    <a:cxn ang="0">
                      <a:pos x="28" y="95"/>
                    </a:cxn>
                    <a:cxn ang="0">
                      <a:pos x="30" y="103"/>
                    </a:cxn>
                    <a:cxn ang="0">
                      <a:pos x="25" y="111"/>
                    </a:cxn>
                    <a:cxn ang="0">
                      <a:pos x="31" y="116"/>
                    </a:cxn>
                    <a:cxn ang="0">
                      <a:pos x="41" y="159"/>
                    </a:cxn>
                    <a:cxn ang="0">
                      <a:pos x="36" y="165"/>
                    </a:cxn>
                    <a:cxn ang="0">
                      <a:pos x="28" y="171"/>
                    </a:cxn>
                    <a:cxn ang="0">
                      <a:pos x="22" y="182"/>
                    </a:cxn>
                    <a:cxn ang="0">
                      <a:pos x="14" y="204"/>
                    </a:cxn>
                    <a:cxn ang="0">
                      <a:pos x="11" y="220"/>
                    </a:cxn>
                    <a:cxn ang="0">
                      <a:pos x="1" y="234"/>
                    </a:cxn>
                    <a:cxn ang="0">
                      <a:pos x="0" y="259"/>
                    </a:cxn>
                    <a:cxn ang="0">
                      <a:pos x="11" y="295"/>
                    </a:cxn>
                    <a:cxn ang="0">
                      <a:pos x="22" y="301"/>
                    </a:cxn>
                    <a:cxn ang="0">
                      <a:pos x="27" y="315"/>
                    </a:cxn>
                    <a:cxn ang="0">
                      <a:pos x="21" y="331"/>
                    </a:cxn>
                    <a:cxn ang="0">
                      <a:pos x="11" y="328"/>
                    </a:cxn>
                    <a:cxn ang="0">
                      <a:pos x="5" y="336"/>
                    </a:cxn>
                    <a:cxn ang="0">
                      <a:pos x="67" y="356"/>
                    </a:cxn>
                    <a:cxn ang="0">
                      <a:pos x="95" y="338"/>
                    </a:cxn>
                    <a:cxn ang="0">
                      <a:pos x="137" y="328"/>
                    </a:cxn>
                    <a:cxn ang="0">
                      <a:pos x="183" y="302"/>
                    </a:cxn>
                    <a:cxn ang="0">
                      <a:pos x="196" y="300"/>
                    </a:cxn>
                    <a:cxn ang="0">
                      <a:pos x="219" y="300"/>
                    </a:cxn>
                    <a:cxn ang="0">
                      <a:pos x="240" y="283"/>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grp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884" name="Freeform 226"/>
                <p:cNvSpPr>
                  <a:spLocks noChangeAspect="1"/>
                </p:cNvSpPr>
                <p:nvPr/>
              </p:nvSpPr>
              <p:spPr bwMode="gray">
                <a:xfrm>
                  <a:off x="4669631" y="3429347"/>
                  <a:ext cx="131763" cy="98425"/>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85" name="Freeform 227"/>
                <p:cNvSpPr>
                  <a:spLocks noChangeAspect="1"/>
                </p:cNvSpPr>
                <p:nvPr/>
              </p:nvSpPr>
              <p:spPr bwMode="gray">
                <a:xfrm>
                  <a:off x="4906168" y="3469034"/>
                  <a:ext cx="133350" cy="195263"/>
                </a:xfrm>
                <a:custGeom>
                  <a:avLst/>
                  <a:gdLst/>
                  <a:ahLst/>
                  <a:cxnLst>
                    <a:cxn ang="0">
                      <a:pos x="220" y="581"/>
                    </a:cxn>
                    <a:cxn ang="0">
                      <a:pos x="170" y="579"/>
                    </a:cxn>
                    <a:cxn ang="0">
                      <a:pos x="74" y="585"/>
                    </a:cxn>
                    <a:cxn ang="0">
                      <a:pos x="79" y="536"/>
                    </a:cxn>
                    <a:cxn ang="0">
                      <a:pos x="75" y="520"/>
                    </a:cxn>
                    <a:cxn ang="0">
                      <a:pos x="63" y="502"/>
                    </a:cxn>
                    <a:cxn ang="0">
                      <a:pos x="68" y="494"/>
                    </a:cxn>
                    <a:cxn ang="0">
                      <a:pos x="58" y="484"/>
                    </a:cxn>
                    <a:cxn ang="0">
                      <a:pos x="32" y="480"/>
                    </a:cxn>
                    <a:cxn ang="0">
                      <a:pos x="11" y="456"/>
                    </a:cxn>
                    <a:cxn ang="0">
                      <a:pos x="3" y="448"/>
                    </a:cxn>
                    <a:cxn ang="0">
                      <a:pos x="7" y="432"/>
                    </a:cxn>
                    <a:cxn ang="0">
                      <a:pos x="19" y="400"/>
                    </a:cxn>
                    <a:cxn ang="0">
                      <a:pos x="39" y="358"/>
                    </a:cxn>
                    <a:cxn ang="0">
                      <a:pos x="62" y="328"/>
                    </a:cxn>
                    <a:cxn ang="0">
                      <a:pos x="101" y="323"/>
                    </a:cxn>
                    <a:cxn ang="0">
                      <a:pos x="130" y="339"/>
                    </a:cxn>
                    <a:cxn ang="0">
                      <a:pos x="143" y="350"/>
                    </a:cxn>
                    <a:cxn ang="0">
                      <a:pos x="168" y="342"/>
                    </a:cxn>
                    <a:cxn ang="0">
                      <a:pos x="198" y="280"/>
                    </a:cxn>
                    <a:cxn ang="0">
                      <a:pos x="210" y="241"/>
                    </a:cxn>
                    <a:cxn ang="0">
                      <a:pos x="238" y="217"/>
                    </a:cxn>
                    <a:cxn ang="0">
                      <a:pos x="249" y="171"/>
                    </a:cxn>
                    <a:cxn ang="0">
                      <a:pos x="263" y="131"/>
                    </a:cxn>
                    <a:cxn ang="0">
                      <a:pos x="279" y="95"/>
                    </a:cxn>
                    <a:cxn ang="0">
                      <a:pos x="307" y="77"/>
                    </a:cxn>
                    <a:cxn ang="0">
                      <a:pos x="327" y="48"/>
                    </a:cxn>
                    <a:cxn ang="0">
                      <a:pos x="323" y="23"/>
                    </a:cxn>
                    <a:cxn ang="0">
                      <a:pos x="310" y="15"/>
                    </a:cxn>
                    <a:cxn ang="0">
                      <a:pos x="332" y="0"/>
                    </a:cxn>
                    <a:cxn ang="0">
                      <a:pos x="340" y="4"/>
                    </a:cxn>
                    <a:cxn ang="0">
                      <a:pos x="355" y="48"/>
                    </a:cxn>
                    <a:cxn ang="0">
                      <a:pos x="349" y="90"/>
                    </a:cxn>
                    <a:cxn ang="0">
                      <a:pos x="374" y="140"/>
                    </a:cxn>
                    <a:cxn ang="0">
                      <a:pos x="376" y="157"/>
                    </a:cxn>
                    <a:cxn ang="0">
                      <a:pos x="337" y="154"/>
                    </a:cxn>
                    <a:cxn ang="0">
                      <a:pos x="315" y="159"/>
                    </a:cxn>
                    <a:cxn ang="0">
                      <a:pos x="311" y="192"/>
                    </a:cxn>
                    <a:cxn ang="0">
                      <a:pos x="338" y="215"/>
                    </a:cxn>
                    <a:cxn ang="0">
                      <a:pos x="360" y="230"/>
                    </a:cxn>
                    <a:cxn ang="0">
                      <a:pos x="376" y="292"/>
                    </a:cxn>
                    <a:cxn ang="0">
                      <a:pos x="370" y="323"/>
                    </a:cxn>
                    <a:cxn ang="0">
                      <a:pos x="343" y="369"/>
                    </a:cxn>
                    <a:cxn ang="0">
                      <a:pos x="335" y="407"/>
                    </a:cxn>
                    <a:cxn ang="0">
                      <a:pos x="345" y="458"/>
                    </a:cxn>
                    <a:cxn ang="0">
                      <a:pos x="390" y="528"/>
                    </a:cxn>
                    <a:cxn ang="0">
                      <a:pos x="418" y="559"/>
                    </a:cxn>
                    <a:cxn ang="0">
                      <a:pos x="413" y="615"/>
                    </a:cxn>
                    <a:cxn ang="0">
                      <a:pos x="366" y="592"/>
                    </a:cxn>
                    <a:cxn ang="0">
                      <a:pos x="264" y="585"/>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86" name="Freeform 228"/>
                <p:cNvSpPr>
                  <a:spLocks noChangeAspect="1"/>
                </p:cNvSpPr>
                <p:nvPr/>
              </p:nvSpPr>
              <p:spPr bwMode="gray">
                <a:xfrm>
                  <a:off x="4772818" y="3475384"/>
                  <a:ext cx="52388" cy="107950"/>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87" name="Freeform 229"/>
                <p:cNvSpPr>
                  <a:spLocks noChangeAspect="1"/>
                </p:cNvSpPr>
                <p:nvPr/>
              </p:nvSpPr>
              <p:spPr bwMode="gray">
                <a:xfrm>
                  <a:off x="4991892" y="3275359"/>
                  <a:ext cx="187325" cy="287338"/>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88" name="Freeform 230"/>
                <p:cNvSpPr>
                  <a:spLocks noChangeAspect="1"/>
                </p:cNvSpPr>
                <p:nvPr/>
              </p:nvSpPr>
              <p:spPr bwMode="gray">
                <a:xfrm>
                  <a:off x="5395117" y="3373784"/>
                  <a:ext cx="114300" cy="103188"/>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89" name="Freeform 231"/>
                <p:cNvSpPr>
                  <a:spLocks noChangeAspect="1"/>
                </p:cNvSpPr>
                <p:nvPr/>
              </p:nvSpPr>
              <p:spPr bwMode="gray">
                <a:xfrm>
                  <a:off x="4548981" y="3245197"/>
                  <a:ext cx="282575" cy="269875"/>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90" name="Freeform 232"/>
                <p:cNvSpPr>
                  <a:spLocks noChangeAspect="1"/>
                </p:cNvSpPr>
                <p:nvPr/>
              </p:nvSpPr>
              <p:spPr bwMode="gray">
                <a:xfrm>
                  <a:off x="4887118" y="2994372"/>
                  <a:ext cx="69850" cy="147638"/>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91" name="Freeform 233"/>
                <p:cNvSpPr>
                  <a:spLocks noChangeAspect="1"/>
                </p:cNvSpPr>
                <p:nvPr/>
              </p:nvSpPr>
              <p:spPr bwMode="gray">
                <a:xfrm>
                  <a:off x="5187155" y="3115022"/>
                  <a:ext cx="195263" cy="192088"/>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solidFill>
                  <a:schemeClr val="accent6">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892" name="Freeform 234"/>
                <p:cNvSpPr>
                  <a:spLocks noChangeAspect="1"/>
                </p:cNvSpPr>
                <p:nvPr/>
              </p:nvSpPr>
              <p:spPr bwMode="gray">
                <a:xfrm>
                  <a:off x="4610893" y="2999134"/>
                  <a:ext cx="352425" cy="358775"/>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93" name="Freeform 235"/>
                <p:cNvSpPr>
                  <a:spLocks noChangeAspect="1"/>
                </p:cNvSpPr>
                <p:nvPr/>
              </p:nvSpPr>
              <p:spPr bwMode="gray">
                <a:xfrm>
                  <a:off x="4464843" y="3202334"/>
                  <a:ext cx="209550" cy="231775"/>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94" name="Freeform 236"/>
                <p:cNvSpPr>
                  <a:spLocks noChangeAspect="1"/>
                </p:cNvSpPr>
                <p:nvPr/>
              </p:nvSpPr>
              <p:spPr bwMode="gray">
                <a:xfrm>
                  <a:off x="4534693" y="3026122"/>
                  <a:ext cx="207963" cy="166688"/>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95" name="Freeform 237"/>
                <p:cNvSpPr>
                  <a:spLocks noChangeAspect="1"/>
                </p:cNvSpPr>
                <p:nvPr/>
              </p:nvSpPr>
              <p:spPr bwMode="gray">
                <a:xfrm>
                  <a:off x="5474492" y="3484909"/>
                  <a:ext cx="177800" cy="234950"/>
                </a:xfrm>
                <a:custGeom>
                  <a:avLst/>
                  <a:gdLst/>
                  <a:ahLst/>
                  <a:cxnLst>
                    <a:cxn ang="0">
                      <a:pos x="6" y="708"/>
                    </a:cxn>
                    <a:cxn ang="0">
                      <a:pos x="0" y="604"/>
                    </a:cxn>
                    <a:cxn ang="0">
                      <a:pos x="3" y="496"/>
                    </a:cxn>
                    <a:cxn ang="0">
                      <a:pos x="48" y="437"/>
                    </a:cxn>
                    <a:cxn ang="0">
                      <a:pos x="102" y="414"/>
                    </a:cxn>
                    <a:cxn ang="0">
                      <a:pos x="148" y="384"/>
                    </a:cxn>
                    <a:cxn ang="0">
                      <a:pos x="302" y="297"/>
                    </a:cxn>
                    <a:cxn ang="0">
                      <a:pos x="384" y="212"/>
                    </a:cxn>
                    <a:cxn ang="0">
                      <a:pos x="166" y="154"/>
                    </a:cxn>
                    <a:cxn ang="0">
                      <a:pos x="132" y="122"/>
                    </a:cxn>
                    <a:cxn ang="0">
                      <a:pos x="119" y="107"/>
                    </a:cxn>
                    <a:cxn ang="0">
                      <a:pos x="103" y="88"/>
                    </a:cxn>
                    <a:cxn ang="0">
                      <a:pos x="103" y="55"/>
                    </a:cxn>
                    <a:cxn ang="0">
                      <a:pos x="120" y="25"/>
                    </a:cxn>
                    <a:cxn ang="0">
                      <a:pos x="130" y="29"/>
                    </a:cxn>
                    <a:cxn ang="0">
                      <a:pos x="151" y="57"/>
                    </a:cxn>
                    <a:cxn ang="0">
                      <a:pos x="186" y="84"/>
                    </a:cxn>
                    <a:cxn ang="0">
                      <a:pos x="222" y="77"/>
                    </a:cxn>
                    <a:cxn ang="0">
                      <a:pos x="248" y="64"/>
                    </a:cxn>
                    <a:cxn ang="0">
                      <a:pos x="258" y="57"/>
                    </a:cxn>
                    <a:cxn ang="0">
                      <a:pos x="269" y="61"/>
                    </a:cxn>
                    <a:cxn ang="0">
                      <a:pos x="291" y="67"/>
                    </a:cxn>
                    <a:cxn ang="0">
                      <a:pos x="317" y="61"/>
                    </a:cxn>
                    <a:cxn ang="0">
                      <a:pos x="336" y="48"/>
                    </a:cxn>
                    <a:cxn ang="0">
                      <a:pos x="365" y="46"/>
                    </a:cxn>
                    <a:cxn ang="0">
                      <a:pos x="393" y="43"/>
                    </a:cxn>
                    <a:cxn ang="0">
                      <a:pos x="417" y="33"/>
                    </a:cxn>
                    <a:cxn ang="0">
                      <a:pos x="451" y="28"/>
                    </a:cxn>
                    <a:cxn ang="0">
                      <a:pos x="473" y="25"/>
                    </a:cxn>
                    <a:cxn ang="0">
                      <a:pos x="501" y="17"/>
                    </a:cxn>
                    <a:cxn ang="0">
                      <a:pos x="527" y="0"/>
                    </a:cxn>
                    <a:cxn ang="0">
                      <a:pos x="555" y="7"/>
                    </a:cxn>
                    <a:cxn ang="0">
                      <a:pos x="555" y="19"/>
                    </a:cxn>
                    <a:cxn ang="0">
                      <a:pos x="548" y="41"/>
                    </a:cxn>
                    <a:cxn ang="0">
                      <a:pos x="552" y="59"/>
                    </a:cxn>
                    <a:cxn ang="0">
                      <a:pos x="551" y="78"/>
                    </a:cxn>
                    <a:cxn ang="0">
                      <a:pos x="551" y="84"/>
                    </a:cxn>
                    <a:cxn ang="0">
                      <a:pos x="556" y="84"/>
                    </a:cxn>
                    <a:cxn ang="0">
                      <a:pos x="560" y="91"/>
                    </a:cxn>
                    <a:cxn ang="0">
                      <a:pos x="545" y="88"/>
                    </a:cxn>
                    <a:cxn ang="0">
                      <a:pos x="539" y="99"/>
                    </a:cxn>
                    <a:cxn ang="0">
                      <a:pos x="530" y="145"/>
                    </a:cxn>
                    <a:cxn ang="0">
                      <a:pos x="518" y="164"/>
                    </a:cxn>
                    <a:cxn ang="0">
                      <a:pos x="497" y="202"/>
                    </a:cxn>
                    <a:cxn ang="0">
                      <a:pos x="485" y="215"/>
                    </a:cxn>
                    <a:cxn ang="0">
                      <a:pos x="479" y="237"/>
                    </a:cxn>
                    <a:cxn ang="0">
                      <a:pos x="444" y="303"/>
                    </a:cxn>
                    <a:cxn ang="0">
                      <a:pos x="422" y="351"/>
                    </a:cxn>
                    <a:cxn ang="0">
                      <a:pos x="414" y="358"/>
                    </a:cxn>
                    <a:cxn ang="0">
                      <a:pos x="389" y="389"/>
                    </a:cxn>
                    <a:cxn ang="0">
                      <a:pos x="382" y="405"/>
                    </a:cxn>
                    <a:cxn ang="0">
                      <a:pos x="363" y="432"/>
                    </a:cxn>
                    <a:cxn ang="0">
                      <a:pos x="334" y="461"/>
                    </a:cxn>
                    <a:cxn ang="0">
                      <a:pos x="297" y="492"/>
                    </a:cxn>
                    <a:cxn ang="0">
                      <a:pos x="277" y="520"/>
                    </a:cxn>
                    <a:cxn ang="0">
                      <a:pos x="243" y="545"/>
                    </a:cxn>
                    <a:cxn ang="0">
                      <a:pos x="216" y="554"/>
                    </a:cxn>
                    <a:cxn ang="0">
                      <a:pos x="120" y="640"/>
                    </a:cxn>
                    <a:cxn ang="0">
                      <a:pos x="91" y="663"/>
                    </a:cxn>
                    <a:cxn ang="0">
                      <a:pos x="87" y="665"/>
                    </a:cxn>
                    <a:cxn ang="0">
                      <a:pos x="83" y="674"/>
                    </a:cxn>
                    <a:cxn ang="0">
                      <a:pos x="61" y="705"/>
                    </a:cxn>
                    <a:cxn ang="0">
                      <a:pos x="32" y="739"/>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96" name="Freeform 238"/>
                <p:cNvSpPr>
                  <a:spLocks noChangeAspect="1"/>
                </p:cNvSpPr>
                <p:nvPr/>
              </p:nvSpPr>
              <p:spPr bwMode="gray">
                <a:xfrm>
                  <a:off x="4761706" y="3272184"/>
                  <a:ext cx="276225" cy="215900"/>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97" name="Freeform 18"/>
                <p:cNvSpPr>
                  <a:spLocks noChangeAspect="1"/>
                </p:cNvSpPr>
                <p:nvPr/>
              </p:nvSpPr>
              <p:spPr bwMode="gray">
                <a:xfrm>
                  <a:off x="5334792" y="3432522"/>
                  <a:ext cx="261938" cy="198438"/>
                </a:xfrm>
                <a:custGeom>
                  <a:avLst/>
                  <a:gdLst/>
                  <a:ahLst/>
                  <a:cxnLst>
                    <a:cxn ang="0">
                      <a:pos x="174" y="105"/>
                    </a:cxn>
                    <a:cxn ang="0">
                      <a:pos x="149" y="125"/>
                    </a:cxn>
                    <a:cxn ang="0">
                      <a:pos x="104" y="215"/>
                    </a:cxn>
                    <a:cxn ang="0">
                      <a:pos x="81" y="225"/>
                    </a:cxn>
                    <a:cxn ang="0">
                      <a:pos x="67" y="242"/>
                    </a:cxn>
                    <a:cxn ang="0">
                      <a:pos x="67" y="270"/>
                    </a:cxn>
                    <a:cxn ang="0">
                      <a:pos x="61" y="346"/>
                    </a:cxn>
                    <a:cxn ang="0">
                      <a:pos x="21" y="355"/>
                    </a:cxn>
                    <a:cxn ang="0">
                      <a:pos x="5" y="378"/>
                    </a:cxn>
                    <a:cxn ang="0">
                      <a:pos x="12" y="390"/>
                    </a:cxn>
                    <a:cxn ang="0">
                      <a:pos x="39" y="399"/>
                    </a:cxn>
                    <a:cxn ang="0">
                      <a:pos x="58" y="424"/>
                    </a:cxn>
                    <a:cxn ang="0">
                      <a:pos x="93" y="453"/>
                    </a:cxn>
                    <a:cxn ang="0">
                      <a:pos x="113" y="502"/>
                    </a:cxn>
                    <a:cxn ang="0">
                      <a:pos x="150" y="522"/>
                    </a:cxn>
                    <a:cxn ang="0">
                      <a:pos x="157" y="544"/>
                    </a:cxn>
                    <a:cxn ang="0">
                      <a:pos x="185" y="569"/>
                    </a:cxn>
                    <a:cxn ang="0">
                      <a:pos x="255" y="600"/>
                    </a:cxn>
                    <a:cxn ang="0">
                      <a:pos x="303" y="619"/>
                    </a:cxn>
                    <a:cxn ang="0">
                      <a:pos x="373" y="614"/>
                    </a:cxn>
                    <a:cxn ang="0">
                      <a:pos x="427" y="588"/>
                    </a:cxn>
                    <a:cxn ang="0">
                      <a:pos x="483" y="604"/>
                    </a:cxn>
                    <a:cxn ang="0">
                      <a:pos x="506" y="592"/>
                    </a:cxn>
                    <a:cxn ang="0">
                      <a:pos x="567" y="559"/>
                    </a:cxn>
                    <a:cxn ang="0">
                      <a:pos x="661" y="545"/>
                    </a:cxn>
                    <a:cxn ang="0">
                      <a:pos x="823" y="381"/>
                    </a:cxn>
                    <a:cxn ang="0">
                      <a:pos x="684" y="347"/>
                    </a:cxn>
                    <a:cxn ang="0">
                      <a:pos x="579" y="298"/>
                    </a:cxn>
                    <a:cxn ang="0">
                      <a:pos x="564" y="276"/>
                    </a:cxn>
                    <a:cxn ang="0">
                      <a:pos x="550" y="261"/>
                    </a:cxn>
                    <a:cxn ang="0">
                      <a:pos x="539" y="226"/>
                    </a:cxn>
                    <a:cxn ang="0">
                      <a:pos x="534" y="212"/>
                    </a:cxn>
                    <a:cxn ang="0">
                      <a:pos x="516" y="218"/>
                    </a:cxn>
                    <a:cxn ang="0">
                      <a:pos x="504" y="220"/>
                    </a:cxn>
                    <a:cxn ang="0">
                      <a:pos x="484" y="203"/>
                    </a:cxn>
                    <a:cxn ang="0">
                      <a:pos x="499" y="177"/>
                    </a:cxn>
                    <a:cxn ang="0">
                      <a:pos x="512" y="140"/>
                    </a:cxn>
                    <a:cxn ang="0">
                      <a:pos x="495" y="119"/>
                    </a:cxn>
                    <a:cxn ang="0">
                      <a:pos x="480" y="99"/>
                    </a:cxn>
                    <a:cxn ang="0">
                      <a:pos x="445" y="71"/>
                    </a:cxn>
                    <a:cxn ang="0">
                      <a:pos x="420" y="40"/>
                    </a:cxn>
                    <a:cxn ang="0">
                      <a:pos x="389" y="23"/>
                    </a:cxn>
                    <a:cxn ang="0">
                      <a:pos x="372" y="26"/>
                    </a:cxn>
                    <a:cxn ang="0">
                      <a:pos x="356" y="18"/>
                    </a:cxn>
                    <a:cxn ang="0">
                      <a:pos x="340" y="23"/>
                    </a:cxn>
                    <a:cxn ang="0">
                      <a:pos x="334" y="18"/>
                    </a:cxn>
                    <a:cxn ang="0">
                      <a:pos x="324" y="17"/>
                    </a:cxn>
                    <a:cxn ang="0">
                      <a:pos x="301" y="26"/>
                    </a:cxn>
                    <a:cxn ang="0">
                      <a:pos x="284" y="12"/>
                    </a:cxn>
                    <a:cxn ang="0">
                      <a:pos x="268" y="5"/>
                    </a:cxn>
                    <a:cxn ang="0">
                      <a:pos x="236" y="34"/>
                    </a:cxn>
                    <a:cxn ang="0">
                      <a:pos x="223" y="26"/>
                    </a:cxn>
                    <a:cxn ang="0">
                      <a:pos x="216" y="35"/>
                    </a:cxn>
                    <a:cxn ang="0">
                      <a:pos x="194" y="33"/>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98" name="Freeform 240"/>
                <p:cNvSpPr>
                  <a:spLocks noChangeAspect="1"/>
                </p:cNvSpPr>
                <p:nvPr/>
              </p:nvSpPr>
              <p:spPr bwMode="gray">
                <a:xfrm>
                  <a:off x="5296692" y="4153247"/>
                  <a:ext cx="20638" cy="28575"/>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899" name="Freeform 241"/>
                <p:cNvSpPr>
                  <a:spLocks noChangeAspect="1"/>
                </p:cNvSpPr>
                <p:nvPr/>
              </p:nvSpPr>
              <p:spPr bwMode="gray">
                <a:xfrm>
                  <a:off x="5045867" y="4083397"/>
                  <a:ext cx="285750" cy="250825"/>
                </a:xfrm>
                <a:custGeom>
                  <a:avLst/>
                  <a:gdLst/>
                  <a:ahLst/>
                  <a:cxnLst>
                    <a:cxn ang="0">
                      <a:pos x="188" y="334"/>
                    </a:cxn>
                    <a:cxn ang="0">
                      <a:pos x="157" y="406"/>
                    </a:cxn>
                    <a:cxn ang="0">
                      <a:pos x="101" y="418"/>
                    </a:cxn>
                    <a:cxn ang="0">
                      <a:pos x="59" y="396"/>
                    </a:cxn>
                    <a:cxn ang="0">
                      <a:pos x="8" y="398"/>
                    </a:cxn>
                    <a:cxn ang="0">
                      <a:pos x="1" y="411"/>
                    </a:cxn>
                    <a:cxn ang="0">
                      <a:pos x="37" y="491"/>
                    </a:cxn>
                    <a:cxn ang="0">
                      <a:pos x="70" y="562"/>
                    </a:cxn>
                    <a:cxn ang="0">
                      <a:pos x="90" y="665"/>
                    </a:cxn>
                    <a:cxn ang="0">
                      <a:pos x="77" y="678"/>
                    </a:cxn>
                    <a:cxn ang="0">
                      <a:pos x="88" y="701"/>
                    </a:cxn>
                    <a:cxn ang="0">
                      <a:pos x="108" y="734"/>
                    </a:cxn>
                    <a:cxn ang="0">
                      <a:pos x="109" y="770"/>
                    </a:cxn>
                    <a:cxn ang="0">
                      <a:pos x="112" y="750"/>
                    </a:cxn>
                    <a:cxn ang="0">
                      <a:pos x="128" y="769"/>
                    </a:cxn>
                    <a:cxn ang="0">
                      <a:pos x="155" y="782"/>
                    </a:cxn>
                    <a:cxn ang="0">
                      <a:pos x="195" y="791"/>
                    </a:cxn>
                    <a:cxn ang="0">
                      <a:pos x="236" y="771"/>
                    </a:cxn>
                    <a:cxn ang="0">
                      <a:pos x="287" y="771"/>
                    </a:cxn>
                    <a:cxn ang="0">
                      <a:pos x="311" y="753"/>
                    </a:cxn>
                    <a:cxn ang="0">
                      <a:pos x="365" y="753"/>
                    </a:cxn>
                    <a:cxn ang="0">
                      <a:pos x="408" y="746"/>
                    </a:cxn>
                    <a:cxn ang="0">
                      <a:pos x="479" y="743"/>
                    </a:cxn>
                    <a:cxn ang="0">
                      <a:pos x="505" y="733"/>
                    </a:cxn>
                    <a:cxn ang="0">
                      <a:pos x="553" y="727"/>
                    </a:cxn>
                    <a:cxn ang="0">
                      <a:pos x="633" y="679"/>
                    </a:cxn>
                    <a:cxn ang="0">
                      <a:pos x="705" y="600"/>
                    </a:cxn>
                    <a:cxn ang="0">
                      <a:pos x="765" y="533"/>
                    </a:cxn>
                    <a:cxn ang="0">
                      <a:pos x="804" y="465"/>
                    </a:cxn>
                    <a:cxn ang="0">
                      <a:pos x="836" y="420"/>
                    </a:cxn>
                    <a:cxn ang="0">
                      <a:pos x="881" y="357"/>
                    </a:cxn>
                    <a:cxn ang="0">
                      <a:pos x="894" y="305"/>
                    </a:cxn>
                    <a:cxn ang="0">
                      <a:pos x="856" y="281"/>
                    </a:cxn>
                    <a:cxn ang="0">
                      <a:pos x="824" y="307"/>
                    </a:cxn>
                    <a:cxn ang="0">
                      <a:pos x="793" y="256"/>
                    </a:cxn>
                    <a:cxn ang="0">
                      <a:pos x="845" y="233"/>
                    </a:cxn>
                    <a:cxn ang="0">
                      <a:pos x="830" y="55"/>
                    </a:cxn>
                    <a:cxn ang="0">
                      <a:pos x="807" y="17"/>
                    </a:cxn>
                    <a:cxn ang="0">
                      <a:pos x="749" y="9"/>
                    </a:cxn>
                    <a:cxn ang="0">
                      <a:pos x="704" y="8"/>
                    </a:cxn>
                    <a:cxn ang="0">
                      <a:pos x="625" y="57"/>
                    </a:cxn>
                    <a:cxn ang="0">
                      <a:pos x="558" y="129"/>
                    </a:cxn>
                    <a:cxn ang="0">
                      <a:pos x="496" y="207"/>
                    </a:cxn>
                    <a:cxn ang="0">
                      <a:pos x="437" y="217"/>
                    </a:cxn>
                    <a:cxn ang="0">
                      <a:pos x="376" y="201"/>
                    </a:cxn>
                    <a:cxn ang="0">
                      <a:pos x="339" y="248"/>
                    </a:cxn>
                    <a:cxn ang="0">
                      <a:pos x="277" y="286"/>
                    </a:cxn>
                    <a:cxn ang="0">
                      <a:pos x="230" y="271"/>
                    </a:cxn>
                    <a:cxn ang="0">
                      <a:pos x="238" y="213"/>
                    </a:cxn>
                    <a:cxn ang="0">
                      <a:pos x="200" y="170"/>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grp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900" name="Freeform 242"/>
                <p:cNvSpPr>
                  <a:spLocks noChangeAspect="1"/>
                </p:cNvSpPr>
                <p:nvPr/>
              </p:nvSpPr>
              <p:spPr bwMode="gray">
                <a:xfrm>
                  <a:off x="5330030" y="3854797"/>
                  <a:ext cx="55563" cy="138113"/>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01" name="Freeform 243"/>
                <p:cNvSpPr>
                  <a:spLocks noChangeAspect="1"/>
                </p:cNvSpPr>
                <p:nvPr/>
              </p:nvSpPr>
              <p:spPr bwMode="gray">
                <a:xfrm>
                  <a:off x="5511005" y="3904009"/>
                  <a:ext cx="123825" cy="247650"/>
                </a:xfrm>
                <a:custGeom>
                  <a:avLst/>
                  <a:gdLst/>
                  <a:ahLst/>
                  <a:cxnLst>
                    <a:cxn ang="0">
                      <a:pos x="76" y="226"/>
                    </a:cxn>
                    <a:cxn ang="0">
                      <a:pos x="107" y="215"/>
                    </a:cxn>
                    <a:cxn ang="0">
                      <a:pos x="118" y="215"/>
                    </a:cxn>
                    <a:cxn ang="0">
                      <a:pos x="130" y="204"/>
                    </a:cxn>
                    <a:cxn ang="0">
                      <a:pos x="152" y="199"/>
                    </a:cxn>
                    <a:cxn ang="0">
                      <a:pos x="170" y="219"/>
                    </a:cxn>
                    <a:cxn ang="0">
                      <a:pos x="182" y="210"/>
                    </a:cxn>
                    <a:cxn ang="0">
                      <a:pos x="183" y="181"/>
                    </a:cxn>
                    <a:cxn ang="0">
                      <a:pos x="204" y="189"/>
                    </a:cxn>
                    <a:cxn ang="0">
                      <a:pos x="208" y="167"/>
                    </a:cxn>
                    <a:cxn ang="0">
                      <a:pos x="221" y="149"/>
                    </a:cxn>
                    <a:cxn ang="0">
                      <a:pos x="229" y="160"/>
                    </a:cxn>
                    <a:cxn ang="0">
                      <a:pos x="258" y="140"/>
                    </a:cxn>
                    <a:cxn ang="0">
                      <a:pos x="242" y="125"/>
                    </a:cxn>
                    <a:cxn ang="0">
                      <a:pos x="258" y="113"/>
                    </a:cxn>
                    <a:cxn ang="0">
                      <a:pos x="253" y="81"/>
                    </a:cxn>
                    <a:cxn ang="0">
                      <a:pos x="270" y="92"/>
                    </a:cxn>
                    <a:cxn ang="0">
                      <a:pos x="293" y="68"/>
                    </a:cxn>
                    <a:cxn ang="0">
                      <a:pos x="307" y="25"/>
                    </a:cxn>
                    <a:cxn ang="0">
                      <a:pos x="316" y="5"/>
                    </a:cxn>
                    <a:cxn ang="0">
                      <a:pos x="344" y="23"/>
                    </a:cxn>
                    <a:cxn ang="0">
                      <a:pos x="365" y="60"/>
                    </a:cxn>
                    <a:cxn ang="0">
                      <a:pos x="374" y="106"/>
                    </a:cxn>
                    <a:cxn ang="0">
                      <a:pos x="382" y="151"/>
                    </a:cxn>
                    <a:cxn ang="0">
                      <a:pos x="388" y="198"/>
                    </a:cxn>
                    <a:cxn ang="0">
                      <a:pos x="370" y="198"/>
                    </a:cxn>
                    <a:cxn ang="0">
                      <a:pos x="353" y="206"/>
                    </a:cxn>
                    <a:cxn ang="0">
                      <a:pos x="360" y="251"/>
                    </a:cxn>
                    <a:cxn ang="0">
                      <a:pos x="342" y="283"/>
                    </a:cxn>
                    <a:cxn ang="0">
                      <a:pos x="329" y="366"/>
                    </a:cxn>
                    <a:cxn ang="0">
                      <a:pos x="316" y="405"/>
                    </a:cxn>
                    <a:cxn ang="0">
                      <a:pos x="283" y="511"/>
                    </a:cxn>
                    <a:cxn ang="0">
                      <a:pos x="254" y="606"/>
                    </a:cxn>
                    <a:cxn ang="0">
                      <a:pos x="236" y="684"/>
                    </a:cxn>
                    <a:cxn ang="0">
                      <a:pos x="210" y="736"/>
                    </a:cxn>
                    <a:cxn ang="0">
                      <a:pos x="183" y="748"/>
                    </a:cxn>
                    <a:cxn ang="0">
                      <a:pos x="106" y="776"/>
                    </a:cxn>
                    <a:cxn ang="0">
                      <a:pos x="59" y="746"/>
                    </a:cxn>
                    <a:cxn ang="0">
                      <a:pos x="27" y="697"/>
                    </a:cxn>
                    <a:cxn ang="0">
                      <a:pos x="28" y="654"/>
                    </a:cxn>
                    <a:cxn ang="0">
                      <a:pos x="9" y="615"/>
                    </a:cxn>
                    <a:cxn ang="0">
                      <a:pos x="0" y="574"/>
                    </a:cxn>
                    <a:cxn ang="0">
                      <a:pos x="15" y="527"/>
                    </a:cxn>
                    <a:cxn ang="0">
                      <a:pos x="38" y="489"/>
                    </a:cxn>
                    <a:cxn ang="0">
                      <a:pos x="69" y="435"/>
                    </a:cxn>
                    <a:cxn ang="0">
                      <a:pos x="69" y="409"/>
                    </a:cxn>
                    <a:cxn ang="0">
                      <a:pos x="48" y="348"/>
                    </a:cxn>
                    <a:cxn ang="0">
                      <a:pos x="51" y="280"/>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902" name="Group 25"/>
                <p:cNvGrpSpPr>
                  <a:grpSpLocks noChangeAspect="1"/>
                </p:cNvGrpSpPr>
                <p:nvPr/>
              </p:nvGrpSpPr>
              <p:grpSpPr bwMode="gray">
                <a:xfrm>
                  <a:off x="4961730" y="3769072"/>
                  <a:ext cx="219075" cy="239713"/>
                  <a:chOff x="2643" y="2535"/>
                  <a:chExt cx="138" cy="151"/>
                </a:xfrm>
                <a:grpFill/>
              </p:grpSpPr>
              <p:sp>
                <p:nvSpPr>
                  <p:cNvPr id="932" name="Freeform 26"/>
                  <p:cNvSpPr>
                    <a:spLocks noChangeAspect="1"/>
                  </p:cNvSpPr>
                  <p:nvPr/>
                </p:nvSpPr>
                <p:spPr bwMode="gray">
                  <a:xfrm>
                    <a:off x="2643" y="2550"/>
                    <a:ext cx="138" cy="136"/>
                  </a:xfrm>
                  <a:custGeom>
                    <a:avLst/>
                    <a:gdLst/>
                    <a:ahLst/>
                    <a:cxnLst>
                      <a:cxn ang="0">
                        <a:pos x="14" y="557"/>
                      </a:cxn>
                      <a:cxn ang="0">
                        <a:pos x="30" y="499"/>
                      </a:cxn>
                      <a:cxn ang="0">
                        <a:pos x="43" y="451"/>
                      </a:cxn>
                      <a:cxn ang="0">
                        <a:pos x="53" y="418"/>
                      </a:cxn>
                      <a:cxn ang="0">
                        <a:pos x="90" y="381"/>
                      </a:cxn>
                      <a:cxn ang="0">
                        <a:pos x="116" y="331"/>
                      </a:cxn>
                      <a:cxn ang="0">
                        <a:pos x="122" y="283"/>
                      </a:cxn>
                      <a:cxn ang="0">
                        <a:pos x="95" y="235"/>
                      </a:cxn>
                      <a:cxn ang="0">
                        <a:pos x="86" y="175"/>
                      </a:cxn>
                      <a:cxn ang="0">
                        <a:pos x="84" y="128"/>
                      </a:cxn>
                      <a:cxn ang="0">
                        <a:pos x="53" y="53"/>
                      </a:cxn>
                      <a:cxn ang="0">
                        <a:pos x="40" y="26"/>
                      </a:cxn>
                      <a:cxn ang="0">
                        <a:pos x="79" y="9"/>
                      </a:cxn>
                      <a:cxn ang="0">
                        <a:pos x="132" y="4"/>
                      </a:cxn>
                      <a:cxn ang="0">
                        <a:pos x="193" y="3"/>
                      </a:cxn>
                      <a:cxn ang="0">
                        <a:pos x="258" y="3"/>
                      </a:cxn>
                      <a:cxn ang="0">
                        <a:pos x="275" y="19"/>
                      </a:cxn>
                      <a:cxn ang="0">
                        <a:pos x="290" y="68"/>
                      </a:cxn>
                      <a:cxn ang="0">
                        <a:pos x="339" y="129"/>
                      </a:cxn>
                      <a:cxn ang="0">
                        <a:pos x="404" y="122"/>
                      </a:cxn>
                      <a:cxn ang="0">
                        <a:pos x="430" y="95"/>
                      </a:cxn>
                      <a:cxn ang="0">
                        <a:pos x="436" y="67"/>
                      </a:cxn>
                      <a:cxn ang="0">
                        <a:pos x="504" y="83"/>
                      </a:cxn>
                      <a:cxn ang="0">
                        <a:pos x="560" y="128"/>
                      </a:cxn>
                      <a:cxn ang="0">
                        <a:pos x="565" y="178"/>
                      </a:cxn>
                      <a:cxn ang="0">
                        <a:pos x="573" y="226"/>
                      </a:cxn>
                      <a:cxn ang="0">
                        <a:pos x="580" y="278"/>
                      </a:cxn>
                      <a:cxn ang="0">
                        <a:pos x="572" y="295"/>
                      </a:cxn>
                      <a:cxn ang="0">
                        <a:pos x="590" y="304"/>
                      </a:cxn>
                      <a:cxn ang="0">
                        <a:pos x="651" y="288"/>
                      </a:cxn>
                      <a:cxn ang="0">
                        <a:pos x="682" y="279"/>
                      </a:cxn>
                      <a:cxn ang="0">
                        <a:pos x="686" y="288"/>
                      </a:cxn>
                      <a:cxn ang="0">
                        <a:pos x="683" y="311"/>
                      </a:cxn>
                      <a:cxn ang="0">
                        <a:pos x="681" y="364"/>
                      </a:cxn>
                      <a:cxn ang="0">
                        <a:pos x="683" y="396"/>
                      </a:cxn>
                      <a:cxn ang="0">
                        <a:pos x="573" y="452"/>
                      </a:cxn>
                      <a:cxn ang="0">
                        <a:pos x="573" y="601"/>
                      </a:cxn>
                      <a:cxn ang="0">
                        <a:pos x="603" y="630"/>
                      </a:cxn>
                      <a:cxn ang="0">
                        <a:pos x="630" y="654"/>
                      </a:cxn>
                      <a:cxn ang="0">
                        <a:pos x="549" y="683"/>
                      </a:cxn>
                      <a:cxn ang="0">
                        <a:pos x="513" y="677"/>
                      </a:cxn>
                      <a:cxn ang="0">
                        <a:pos x="417" y="671"/>
                      </a:cxn>
                      <a:cxn ang="0">
                        <a:pos x="369" y="644"/>
                      </a:cxn>
                      <a:cxn ang="0">
                        <a:pos x="201" y="644"/>
                      </a:cxn>
                      <a:cxn ang="0">
                        <a:pos x="112" y="633"/>
                      </a:cxn>
                      <a:cxn ang="0">
                        <a:pos x="62" y="618"/>
                      </a:cxn>
                      <a:cxn ang="0">
                        <a:pos x="26" y="629"/>
                      </a:cxn>
                      <a:cxn ang="0">
                        <a:pos x="0" y="617"/>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33" name="Freeform 27"/>
                  <p:cNvSpPr>
                    <a:spLocks noChangeAspect="1"/>
                  </p:cNvSpPr>
                  <p:nvPr/>
                </p:nvSpPr>
                <p:spPr bwMode="gray">
                  <a:xfrm>
                    <a:off x="2647" y="2535"/>
                    <a:ext cx="11" cy="16"/>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sp>
              <p:nvSpPr>
                <p:cNvPr id="903" name="Freeform 28"/>
                <p:cNvSpPr>
                  <a:spLocks noChangeAspect="1"/>
                </p:cNvSpPr>
                <p:nvPr/>
              </p:nvSpPr>
              <p:spPr bwMode="gray">
                <a:xfrm>
                  <a:off x="5231605" y="4207222"/>
                  <a:ext cx="39688" cy="41275"/>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04" name="Freeform 29"/>
                <p:cNvSpPr>
                  <a:spLocks noChangeAspect="1"/>
                </p:cNvSpPr>
                <p:nvPr/>
              </p:nvSpPr>
              <p:spPr bwMode="gray">
                <a:xfrm>
                  <a:off x="5142705" y="3834159"/>
                  <a:ext cx="203200" cy="174625"/>
                </a:xfrm>
                <a:custGeom>
                  <a:avLst/>
                  <a:gdLst/>
                  <a:ahLst/>
                  <a:cxnLst>
                    <a:cxn ang="0">
                      <a:pos x="0" y="320"/>
                    </a:cxn>
                    <a:cxn ang="0">
                      <a:pos x="110" y="264"/>
                    </a:cxn>
                    <a:cxn ang="0">
                      <a:pos x="108" y="232"/>
                    </a:cxn>
                    <a:cxn ang="0">
                      <a:pos x="110" y="179"/>
                    </a:cxn>
                    <a:cxn ang="0">
                      <a:pos x="113" y="156"/>
                    </a:cxn>
                    <a:cxn ang="0">
                      <a:pos x="120" y="145"/>
                    </a:cxn>
                    <a:cxn ang="0">
                      <a:pos x="132" y="168"/>
                    </a:cxn>
                    <a:cxn ang="0">
                      <a:pos x="156" y="166"/>
                    </a:cxn>
                    <a:cxn ang="0">
                      <a:pos x="183" y="178"/>
                    </a:cxn>
                    <a:cxn ang="0">
                      <a:pos x="231" y="205"/>
                    </a:cxn>
                    <a:cxn ang="0">
                      <a:pos x="274" y="196"/>
                    </a:cxn>
                    <a:cxn ang="0">
                      <a:pos x="323" y="226"/>
                    </a:cxn>
                    <a:cxn ang="0">
                      <a:pos x="350" y="252"/>
                    </a:cxn>
                    <a:cxn ang="0">
                      <a:pos x="397" y="277"/>
                    </a:cxn>
                    <a:cxn ang="0">
                      <a:pos x="411" y="275"/>
                    </a:cxn>
                    <a:cxn ang="0">
                      <a:pos x="426" y="281"/>
                    </a:cxn>
                    <a:cxn ang="0">
                      <a:pos x="421" y="223"/>
                    </a:cxn>
                    <a:cxn ang="0">
                      <a:pos x="383" y="225"/>
                    </a:cxn>
                    <a:cxn ang="0">
                      <a:pos x="358" y="199"/>
                    </a:cxn>
                    <a:cxn ang="0">
                      <a:pos x="377" y="131"/>
                    </a:cxn>
                    <a:cxn ang="0">
                      <a:pos x="370" y="66"/>
                    </a:cxn>
                    <a:cxn ang="0">
                      <a:pos x="379" y="37"/>
                    </a:cxn>
                    <a:cxn ang="0">
                      <a:pos x="397" y="17"/>
                    </a:cxn>
                    <a:cxn ang="0">
                      <a:pos x="470" y="13"/>
                    </a:cxn>
                    <a:cxn ang="0">
                      <a:pos x="494" y="33"/>
                    </a:cxn>
                    <a:cxn ang="0">
                      <a:pos x="526" y="32"/>
                    </a:cxn>
                    <a:cxn ang="0">
                      <a:pos x="575" y="57"/>
                    </a:cxn>
                    <a:cxn ang="0">
                      <a:pos x="603" y="67"/>
                    </a:cxn>
                    <a:cxn ang="0">
                      <a:pos x="605" y="82"/>
                    </a:cxn>
                    <a:cxn ang="0">
                      <a:pos x="626" y="107"/>
                    </a:cxn>
                    <a:cxn ang="0">
                      <a:pos x="640" y="139"/>
                    </a:cxn>
                    <a:cxn ang="0">
                      <a:pos x="625" y="151"/>
                    </a:cxn>
                    <a:cxn ang="0">
                      <a:pos x="620" y="194"/>
                    </a:cxn>
                    <a:cxn ang="0">
                      <a:pos x="624" y="231"/>
                    </a:cxn>
                    <a:cxn ang="0">
                      <a:pos x="619" y="243"/>
                    </a:cxn>
                    <a:cxn ang="0">
                      <a:pos x="603" y="265"/>
                    </a:cxn>
                    <a:cxn ang="0">
                      <a:pos x="589" y="306"/>
                    </a:cxn>
                    <a:cxn ang="0">
                      <a:pos x="608" y="322"/>
                    </a:cxn>
                    <a:cxn ang="0">
                      <a:pos x="438" y="383"/>
                    </a:cxn>
                    <a:cxn ang="0">
                      <a:pos x="452" y="416"/>
                    </a:cxn>
                    <a:cxn ang="0">
                      <a:pos x="424" y="414"/>
                    </a:cxn>
                    <a:cxn ang="0">
                      <a:pos x="385" y="425"/>
                    </a:cxn>
                    <a:cxn ang="0">
                      <a:pos x="365" y="442"/>
                    </a:cxn>
                    <a:cxn ang="0">
                      <a:pos x="363" y="464"/>
                    </a:cxn>
                    <a:cxn ang="0">
                      <a:pos x="336" y="469"/>
                    </a:cxn>
                    <a:cxn ang="0">
                      <a:pos x="315" y="481"/>
                    </a:cxn>
                    <a:cxn ang="0">
                      <a:pos x="303" y="491"/>
                    </a:cxn>
                    <a:cxn ang="0">
                      <a:pos x="285" y="524"/>
                    </a:cxn>
                    <a:cxn ang="0">
                      <a:pos x="264" y="549"/>
                    </a:cxn>
                    <a:cxn ang="0">
                      <a:pos x="245" y="546"/>
                    </a:cxn>
                    <a:cxn ang="0">
                      <a:pos x="211" y="546"/>
                    </a:cxn>
                    <a:cxn ang="0">
                      <a:pos x="172" y="539"/>
                    </a:cxn>
                    <a:cxn ang="0">
                      <a:pos x="139" y="518"/>
                    </a:cxn>
                    <a:cxn ang="0">
                      <a:pos x="65" y="527"/>
                    </a:cxn>
                    <a:cxn ang="0">
                      <a:pos x="40" y="507"/>
                    </a:cxn>
                    <a:cxn ang="0">
                      <a:pos x="7" y="475"/>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05" name="Freeform 30"/>
                <p:cNvSpPr>
                  <a:spLocks noChangeAspect="1"/>
                </p:cNvSpPr>
                <p:nvPr/>
              </p:nvSpPr>
              <p:spPr bwMode="gray">
                <a:xfrm>
                  <a:off x="5198267" y="3965922"/>
                  <a:ext cx="134938" cy="128588"/>
                </a:xfrm>
                <a:custGeom>
                  <a:avLst/>
                  <a:gdLst/>
                  <a:ahLst/>
                  <a:cxnLst>
                    <a:cxn ang="0">
                      <a:pos x="202" y="60"/>
                    </a:cxn>
                    <a:cxn ang="0">
                      <a:pos x="198" y="66"/>
                    </a:cxn>
                    <a:cxn ang="0">
                      <a:pos x="193" y="70"/>
                    </a:cxn>
                    <a:cxn ang="0">
                      <a:pos x="179" y="66"/>
                    </a:cxn>
                    <a:cxn ang="0">
                      <a:pos x="175" y="71"/>
                    </a:cxn>
                    <a:cxn ang="0">
                      <a:pos x="169" y="70"/>
                    </a:cxn>
                    <a:cxn ang="0">
                      <a:pos x="164" y="72"/>
                    </a:cxn>
                    <a:cxn ang="0">
                      <a:pos x="156" y="78"/>
                    </a:cxn>
                    <a:cxn ang="0">
                      <a:pos x="156" y="83"/>
                    </a:cxn>
                    <a:cxn ang="0">
                      <a:pos x="153" y="86"/>
                    </a:cxn>
                    <a:cxn ang="0">
                      <a:pos x="143" y="87"/>
                    </a:cxn>
                    <a:cxn ang="0">
                      <a:pos x="140" y="93"/>
                    </a:cxn>
                    <a:cxn ang="0">
                      <a:pos x="130" y="100"/>
                    </a:cxn>
                    <a:cxn ang="0">
                      <a:pos x="121" y="110"/>
                    </a:cxn>
                    <a:cxn ang="0">
                      <a:pos x="115" y="115"/>
                    </a:cxn>
                    <a:cxn ang="0">
                      <a:pos x="103" y="129"/>
                    </a:cxn>
                    <a:cxn ang="0">
                      <a:pos x="92" y="135"/>
                    </a:cxn>
                    <a:cxn ang="0">
                      <a:pos x="80" y="138"/>
                    </a:cxn>
                    <a:cxn ang="0">
                      <a:pos x="73" y="132"/>
                    </a:cxn>
                    <a:cxn ang="0">
                      <a:pos x="61" y="131"/>
                    </a:cxn>
                    <a:cxn ang="0">
                      <a:pos x="39" y="132"/>
                    </a:cxn>
                    <a:cxn ang="0">
                      <a:pos x="7" y="129"/>
                    </a:cxn>
                    <a:cxn ang="0">
                      <a:pos x="0" y="125"/>
                    </a:cxn>
                    <a:cxn ang="0">
                      <a:pos x="3" y="140"/>
                    </a:cxn>
                    <a:cxn ang="0">
                      <a:pos x="27" y="172"/>
                    </a:cxn>
                    <a:cxn ang="0">
                      <a:pos x="35" y="197"/>
                    </a:cxn>
                    <a:cxn ang="0">
                      <a:pos x="77" y="247"/>
                    </a:cxn>
                    <a:cxn ang="0">
                      <a:pos x="107" y="260"/>
                    </a:cxn>
                    <a:cxn ang="0">
                      <a:pos x="129" y="279"/>
                    </a:cxn>
                    <a:cxn ang="0">
                      <a:pos x="140" y="308"/>
                    </a:cxn>
                    <a:cxn ang="0">
                      <a:pos x="150" y="341"/>
                    </a:cxn>
                    <a:cxn ang="0">
                      <a:pos x="167" y="355"/>
                    </a:cxn>
                    <a:cxn ang="0">
                      <a:pos x="193" y="357"/>
                    </a:cxn>
                    <a:cxn ang="0">
                      <a:pos x="216" y="367"/>
                    </a:cxn>
                    <a:cxn ang="0">
                      <a:pos x="239" y="371"/>
                    </a:cxn>
                    <a:cxn ang="0">
                      <a:pos x="271" y="380"/>
                    </a:cxn>
                    <a:cxn ang="0">
                      <a:pos x="296" y="380"/>
                    </a:cxn>
                    <a:cxn ang="0">
                      <a:pos x="329" y="388"/>
                    </a:cxn>
                    <a:cxn ang="0">
                      <a:pos x="349" y="404"/>
                    </a:cxn>
                    <a:cxn ang="0">
                      <a:pos x="351" y="404"/>
                    </a:cxn>
                    <a:cxn ang="0">
                      <a:pos x="355" y="377"/>
                    </a:cxn>
                    <a:cxn ang="0">
                      <a:pos x="372" y="360"/>
                    </a:cxn>
                    <a:cxn ang="0">
                      <a:pos x="398" y="318"/>
                    </a:cxn>
                    <a:cxn ang="0">
                      <a:pos x="422" y="251"/>
                    </a:cxn>
                    <a:cxn ang="0">
                      <a:pos x="414" y="211"/>
                    </a:cxn>
                    <a:cxn ang="0">
                      <a:pos x="422" y="175"/>
                    </a:cxn>
                    <a:cxn ang="0">
                      <a:pos x="428" y="151"/>
                    </a:cxn>
                    <a:cxn ang="0">
                      <a:pos x="428" y="105"/>
                    </a:cxn>
                    <a:cxn ang="0">
                      <a:pos x="420" y="73"/>
                    </a:cxn>
                    <a:cxn ang="0">
                      <a:pos x="410" y="50"/>
                    </a:cxn>
                    <a:cxn ang="0">
                      <a:pos x="351" y="27"/>
                    </a:cxn>
                    <a:cxn ang="0">
                      <a:pos x="322" y="19"/>
                    </a:cxn>
                    <a:cxn ang="0">
                      <a:pos x="281" y="19"/>
                    </a:cxn>
                    <a:cxn ang="0">
                      <a:pos x="280" y="2"/>
                    </a:cxn>
                    <a:cxn ang="0">
                      <a:pos x="264" y="3"/>
                    </a:cxn>
                    <a:cxn ang="0">
                      <a:pos x="252" y="0"/>
                    </a:cxn>
                    <a:cxn ang="0">
                      <a:pos x="236" y="6"/>
                    </a:cxn>
                    <a:cxn ang="0">
                      <a:pos x="213" y="11"/>
                    </a:cxn>
                    <a:cxn ang="0">
                      <a:pos x="200" y="18"/>
                    </a:cxn>
                    <a:cxn ang="0">
                      <a:pos x="193" y="28"/>
                    </a:cxn>
                    <a:cxn ang="0">
                      <a:pos x="194" y="41"/>
                    </a:cxn>
                    <a:cxn ang="0">
                      <a:pos x="191" y="50"/>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06" name="Freeform 31"/>
                <p:cNvSpPr>
                  <a:spLocks noChangeAspect="1"/>
                </p:cNvSpPr>
                <p:nvPr/>
              </p:nvSpPr>
              <p:spPr bwMode="gray">
                <a:xfrm>
                  <a:off x="4961730" y="3988147"/>
                  <a:ext cx="233363" cy="230188"/>
                </a:xfrm>
                <a:custGeom>
                  <a:avLst/>
                  <a:gdLst/>
                  <a:ahLst/>
                  <a:cxnLst>
                    <a:cxn ang="0">
                      <a:pos x="252" y="26"/>
                    </a:cxn>
                    <a:cxn ang="0">
                      <a:pos x="130" y="26"/>
                    </a:cxn>
                    <a:cxn ang="0">
                      <a:pos x="96" y="10"/>
                    </a:cxn>
                    <a:cxn ang="0">
                      <a:pos x="59" y="0"/>
                    </a:cxn>
                    <a:cxn ang="0">
                      <a:pos x="33" y="17"/>
                    </a:cxn>
                    <a:cxn ang="0">
                      <a:pos x="1" y="26"/>
                    </a:cxn>
                    <a:cxn ang="0">
                      <a:pos x="3" y="64"/>
                    </a:cxn>
                    <a:cxn ang="0">
                      <a:pos x="17" y="100"/>
                    </a:cxn>
                    <a:cxn ang="0">
                      <a:pos x="34" y="117"/>
                    </a:cxn>
                    <a:cxn ang="0">
                      <a:pos x="46" y="139"/>
                    </a:cxn>
                    <a:cxn ang="0">
                      <a:pos x="62" y="168"/>
                    </a:cxn>
                    <a:cxn ang="0">
                      <a:pos x="82" y="209"/>
                    </a:cxn>
                    <a:cxn ang="0">
                      <a:pos x="96" y="238"/>
                    </a:cxn>
                    <a:cxn ang="0">
                      <a:pos x="118" y="278"/>
                    </a:cxn>
                    <a:cxn ang="0">
                      <a:pos x="150" y="331"/>
                    </a:cxn>
                    <a:cxn ang="0">
                      <a:pos x="151" y="369"/>
                    </a:cxn>
                    <a:cxn ang="0">
                      <a:pos x="153" y="435"/>
                    </a:cxn>
                    <a:cxn ang="0">
                      <a:pos x="172" y="477"/>
                    </a:cxn>
                    <a:cxn ang="0">
                      <a:pos x="172" y="521"/>
                    </a:cxn>
                    <a:cxn ang="0">
                      <a:pos x="179" y="555"/>
                    </a:cxn>
                    <a:cxn ang="0">
                      <a:pos x="188" y="589"/>
                    </a:cxn>
                    <a:cxn ang="0">
                      <a:pos x="214" y="646"/>
                    </a:cxn>
                    <a:cxn ang="0">
                      <a:pos x="243" y="683"/>
                    </a:cxn>
                    <a:cxn ang="0">
                      <a:pos x="264" y="700"/>
                    </a:cxn>
                    <a:cxn ang="0">
                      <a:pos x="279" y="689"/>
                    </a:cxn>
                    <a:cxn ang="0">
                      <a:pos x="323" y="695"/>
                    </a:cxn>
                    <a:cxn ang="0">
                      <a:pos x="350" y="722"/>
                    </a:cxn>
                    <a:cxn ang="0">
                      <a:pos x="393" y="720"/>
                    </a:cxn>
                    <a:cxn ang="0">
                      <a:pos x="435" y="695"/>
                    </a:cxn>
                    <a:cxn ang="0">
                      <a:pos x="452" y="633"/>
                    </a:cxn>
                    <a:cxn ang="0">
                      <a:pos x="452" y="460"/>
                    </a:cxn>
                    <a:cxn ang="0">
                      <a:pos x="452" y="295"/>
                    </a:cxn>
                    <a:cxn ang="0">
                      <a:pos x="507" y="200"/>
                    </a:cxn>
                    <a:cxn ang="0">
                      <a:pos x="512" y="86"/>
                    </a:cxn>
                    <a:cxn ang="0">
                      <a:pos x="615" y="68"/>
                    </a:cxn>
                    <a:cxn ang="0">
                      <a:pos x="650" y="85"/>
                    </a:cxn>
                    <a:cxn ang="0">
                      <a:pos x="668" y="81"/>
                    </a:cxn>
                    <a:cxn ang="0">
                      <a:pos x="716" y="57"/>
                    </a:cxn>
                    <a:cxn ang="0">
                      <a:pos x="727" y="38"/>
                    </a:cxn>
                    <a:cxn ang="0">
                      <a:pos x="688" y="32"/>
                    </a:cxn>
                    <a:cxn ang="0">
                      <a:pos x="635" y="41"/>
                    </a:cxn>
                    <a:cxn ang="0">
                      <a:pos x="546" y="65"/>
                    </a:cxn>
                    <a:cxn ang="0">
                      <a:pos x="522" y="63"/>
                    </a:cxn>
                    <a:cxn ang="0">
                      <a:pos x="460" y="51"/>
                    </a:cxn>
                    <a:cxn ang="0">
                      <a:pos x="405" y="53"/>
                    </a:cxn>
                    <a:cxn ang="0">
                      <a:pos x="366" y="26"/>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07" name="Freeform 32"/>
                <p:cNvSpPr>
                  <a:spLocks noChangeAspect="1"/>
                </p:cNvSpPr>
                <p:nvPr/>
              </p:nvSpPr>
              <p:spPr bwMode="gray">
                <a:xfrm>
                  <a:off x="5282405" y="3875434"/>
                  <a:ext cx="185738" cy="296863"/>
                </a:xfrm>
                <a:custGeom>
                  <a:avLst/>
                  <a:gdLst/>
                  <a:ahLst/>
                  <a:cxnLst>
                    <a:cxn ang="0">
                      <a:pos x="584" y="10"/>
                    </a:cxn>
                    <a:cxn ang="0">
                      <a:pos x="570" y="56"/>
                    </a:cxn>
                    <a:cxn ang="0">
                      <a:pos x="572" y="128"/>
                    </a:cxn>
                    <a:cxn ang="0">
                      <a:pos x="569" y="176"/>
                    </a:cxn>
                    <a:cxn ang="0">
                      <a:pos x="578" y="205"/>
                    </a:cxn>
                    <a:cxn ang="0">
                      <a:pos x="585" y="224"/>
                    </a:cxn>
                    <a:cxn ang="0">
                      <a:pos x="568" y="263"/>
                    </a:cxn>
                    <a:cxn ang="0">
                      <a:pos x="564" y="285"/>
                    </a:cxn>
                    <a:cxn ang="0">
                      <a:pos x="532" y="328"/>
                    </a:cxn>
                    <a:cxn ang="0">
                      <a:pos x="497" y="355"/>
                    </a:cxn>
                    <a:cxn ang="0">
                      <a:pos x="447" y="378"/>
                    </a:cxn>
                    <a:cxn ang="0">
                      <a:pos x="368" y="434"/>
                    </a:cxn>
                    <a:cxn ang="0">
                      <a:pos x="345" y="462"/>
                    </a:cxn>
                    <a:cxn ang="0">
                      <a:pos x="323" y="477"/>
                    </a:cxn>
                    <a:cxn ang="0">
                      <a:pos x="273" y="521"/>
                    </a:cxn>
                    <a:cxn ang="0">
                      <a:pos x="253" y="572"/>
                    </a:cxn>
                    <a:cxn ang="0">
                      <a:pos x="273" y="598"/>
                    </a:cxn>
                    <a:cxn ang="0">
                      <a:pos x="289" y="667"/>
                    </a:cxn>
                    <a:cxn ang="0">
                      <a:pos x="295" y="725"/>
                    </a:cxn>
                    <a:cxn ang="0">
                      <a:pos x="295" y="764"/>
                    </a:cxn>
                    <a:cxn ang="0">
                      <a:pos x="273" y="811"/>
                    </a:cxn>
                    <a:cxn ang="0">
                      <a:pos x="192" y="843"/>
                    </a:cxn>
                    <a:cxn ang="0">
                      <a:pos x="156" y="863"/>
                    </a:cxn>
                    <a:cxn ang="0">
                      <a:pos x="134" y="893"/>
                    </a:cxn>
                    <a:cxn ang="0">
                      <a:pos x="158" y="899"/>
                    </a:cxn>
                    <a:cxn ang="0">
                      <a:pos x="110" y="908"/>
                    </a:cxn>
                    <a:cxn ang="0">
                      <a:pos x="92" y="742"/>
                    </a:cxn>
                    <a:cxn ang="0">
                      <a:pos x="85" y="673"/>
                    </a:cxn>
                    <a:cxn ang="0">
                      <a:pos x="113" y="636"/>
                    </a:cxn>
                    <a:cxn ang="0">
                      <a:pos x="153" y="508"/>
                    </a:cxn>
                    <a:cxn ang="0">
                      <a:pos x="158" y="451"/>
                    </a:cxn>
                    <a:cxn ang="0">
                      <a:pos x="158" y="367"/>
                    </a:cxn>
                    <a:cxn ang="0">
                      <a:pos x="113" y="323"/>
                    </a:cxn>
                    <a:cxn ang="0">
                      <a:pos x="33" y="305"/>
                    </a:cxn>
                    <a:cxn ang="0">
                      <a:pos x="8" y="269"/>
                    </a:cxn>
                    <a:cxn ang="0">
                      <a:pos x="175" y="198"/>
                    </a:cxn>
                    <a:cxn ang="0">
                      <a:pos x="202" y="226"/>
                    </a:cxn>
                    <a:cxn ang="0">
                      <a:pos x="247" y="226"/>
                    </a:cxn>
                    <a:cxn ang="0">
                      <a:pos x="251" y="273"/>
                    </a:cxn>
                    <a:cxn ang="0">
                      <a:pos x="236" y="302"/>
                    </a:cxn>
                    <a:cxn ang="0">
                      <a:pos x="252" y="327"/>
                    </a:cxn>
                    <a:cxn ang="0">
                      <a:pos x="272" y="350"/>
                    </a:cxn>
                    <a:cxn ang="0">
                      <a:pos x="278" y="366"/>
                    </a:cxn>
                    <a:cxn ang="0">
                      <a:pos x="291" y="357"/>
                    </a:cxn>
                    <a:cxn ang="0">
                      <a:pos x="287" y="337"/>
                    </a:cxn>
                    <a:cxn ang="0">
                      <a:pos x="304" y="314"/>
                    </a:cxn>
                    <a:cxn ang="0">
                      <a:pos x="321" y="284"/>
                    </a:cxn>
                    <a:cxn ang="0">
                      <a:pos x="326" y="244"/>
                    </a:cxn>
                    <a:cxn ang="0">
                      <a:pos x="299" y="203"/>
                    </a:cxn>
                    <a:cxn ang="0">
                      <a:pos x="266" y="167"/>
                    </a:cxn>
                    <a:cxn ang="0">
                      <a:pos x="262" y="123"/>
                    </a:cxn>
                    <a:cxn ang="0">
                      <a:pos x="269" y="76"/>
                    </a:cxn>
                    <a:cxn ang="0">
                      <a:pos x="323" y="53"/>
                    </a:cxn>
                    <a:cxn ang="0">
                      <a:pos x="349" y="65"/>
                    </a:cxn>
                    <a:cxn ang="0">
                      <a:pos x="381" y="56"/>
                    </a:cxn>
                    <a:cxn ang="0">
                      <a:pos x="436" y="43"/>
                    </a:cxn>
                    <a:cxn ang="0">
                      <a:pos x="482" y="45"/>
                    </a:cxn>
                    <a:cxn ang="0">
                      <a:pos x="547" y="2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08" name="Freeform 33"/>
                <p:cNvSpPr>
                  <a:spLocks noChangeAspect="1"/>
                </p:cNvSpPr>
                <p:nvPr/>
              </p:nvSpPr>
              <p:spPr bwMode="gray">
                <a:xfrm>
                  <a:off x="5104605" y="4004022"/>
                  <a:ext cx="165100" cy="169863"/>
                </a:xfrm>
                <a:custGeom>
                  <a:avLst/>
                  <a:gdLst/>
                  <a:ahLst/>
                  <a:cxnLst>
                    <a:cxn ang="0">
                      <a:pos x="0" y="356"/>
                    </a:cxn>
                    <a:cxn ang="0">
                      <a:pos x="0" y="244"/>
                    </a:cxn>
                    <a:cxn ang="0">
                      <a:pos x="56" y="206"/>
                    </a:cxn>
                    <a:cxn ang="0">
                      <a:pos x="56" y="93"/>
                    </a:cxn>
                    <a:cxn ang="0">
                      <a:pos x="61" y="35"/>
                    </a:cxn>
                    <a:cxn ang="0">
                      <a:pos x="158" y="17"/>
                    </a:cxn>
                    <a:cxn ang="0">
                      <a:pos x="181" y="18"/>
                    </a:cxn>
                    <a:cxn ang="0">
                      <a:pos x="199" y="34"/>
                    </a:cxn>
                    <a:cxn ang="0">
                      <a:pos x="208" y="41"/>
                    </a:cxn>
                    <a:cxn ang="0">
                      <a:pos x="233" y="18"/>
                    </a:cxn>
                    <a:cxn ang="0">
                      <a:pos x="265" y="6"/>
                    </a:cxn>
                    <a:cxn ang="0">
                      <a:pos x="283" y="0"/>
                    </a:cxn>
                    <a:cxn ang="0">
                      <a:pos x="291" y="11"/>
                    </a:cxn>
                    <a:cxn ang="0">
                      <a:pos x="307" y="39"/>
                    </a:cxn>
                    <a:cxn ang="0">
                      <a:pos x="319" y="60"/>
                    </a:cxn>
                    <a:cxn ang="0">
                      <a:pos x="339" y="93"/>
                    </a:cxn>
                    <a:cxn ang="0">
                      <a:pos x="385" y="127"/>
                    </a:cxn>
                    <a:cxn ang="0">
                      <a:pos x="407" y="151"/>
                    </a:cxn>
                    <a:cxn ang="0">
                      <a:pos x="431" y="164"/>
                    </a:cxn>
                    <a:cxn ang="0">
                      <a:pos x="434" y="205"/>
                    </a:cxn>
                    <a:cxn ang="0">
                      <a:pos x="449" y="227"/>
                    </a:cxn>
                    <a:cxn ang="0">
                      <a:pos x="470" y="234"/>
                    </a:cxn>
                    <a:cxn ang="0">
                      <a:pos x="497" y="240"/>
                    </a:cxn>
                    <a:cxn ang="0">
                      <a:pos x="518" y="253"/>
                    </a:cxn>
                    <a:cxn ang="0">
                      <a:pos x="506" y="261"/>
                    </a:cxn>
                    <a:cxn ang="0">
                      <a:pos x="454" y="288"/>
                    </a:cxn>
                    <a:cxn ang="0">
                      <a:pos x="418" y="318"/>
                    </a:cxn>
                    <a:cxn ang="0">
                      <a:pos x="388" y="352"/>
                    </a:cxn>
                    <a:cxn ang="0">
                      <a:pos x="344" y="396"/>
                    </a:cxn>
                    <a:cxn ang="0">
                      <a:pos x="314" y="449"/>
                    </a:cxn>
                    <a:cxn ang="0">
                      <a:pos x="301" y="459"/>
                    </a:cxn>
                    <a:cxn ang="0">
                      <a:pos x="265" y="466"/>
                    </a:cxn>
                    <a:cxn ang="0">
                      <a:pos x="227" y="452"/>
                    </a:cxn>
                    <a:cxn ang="0">
                      <a:pos x="201" y="445"/>
                    </a:cxn>
                    <a:cxn ang="0">
                      <a:pos x="170" y="469"/>
                    </a:cxn>
                    <a:cxn ang="0">
                      <a:pos x="161" y="485"/>
                    </a:cxn>
                    <a:cxn ang="0">
                      <a:pos x="140" y="503"/>
                    </a:cxn>
                    <a:cxn ang="0">
                      <a:pos x="125" y="525"/>
                    </a:cxn>
                    <a:cxn ang="0">
                      <a:pos x="72" y="533"/>
                    </a:cxn>
                    <a:cxn ang="0">
                      <a:pos x="46" y="528"/>
                    </a:cxn>
                    <a:cxn ang="0">
                      <a:pos x="50" y="498"/>
                    </a:cxn>
                    <a:cxn ang="0">
                      <a:pos x="52" y="479"/>
                    </a:cxn>
                    <a:cxn ang="0">
                      <a:pos x="44" y="449"/>
                    </a:cxn>
                    <a:cxn ang="0">
                      <a:pos x="25" y="429"/>
                    </a:cxn>
                    <a:cxn ang="0">
                      <a:pos x="11" y="415"/>
                    </a:cxn>
                    <a:cxn ang="0">
                      <a:pos x="0" y="409"/>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09" name="Freeform 34"/>
                <p:cNvSpPr>
                  <a:spLocks noChangeAspect="1"/>
                </p:cNvSpPr>
                <p:nvPr/>
              </p:nvSpPr>
              <p:spPr bwMode="gray">
                <a:xfrm>
                  <a:off x="4498181" y="3470622"/>
                  <a:ext cx="128588" cy="96838"/>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10" name="Freeform 35"/>
                <p:cNvSpPr>
                  <a:spLocks noChangeAspect="1"/>
                </p:cNvSpPr>
                <p:nvPr/>
              </p:nvSpPr>
              <p:spPr bwMode="gray">
                <a:xfrm>
                  <a:off x="5010942" y="3499197"/>
                  <a:ext cx="228600" cy="144463"/>
                </a:xfrm>
                <a:custGeom>
                  <a:avLst/>
                  <a:gdLst/>
                  <a:ahLst/>
                  <a:cxnLst>
                    <a:cxn ang="0">
                      <a:pos x="433" y="6"/>
                    </a:cxn>
                    <a:cxn ang="0">
                      <a:pos x="405" y="15"/>
                    </a:cxn>
                    <a:cxn ang="0">
                      <a:pos x="393" y="44"/>
                    </a:cxn>
                    <a:cxn ang="0">
                      <a:pos x="378" y="58"/>
                    </a:cxn>
                    <a:cxn ang="0">
                      <a:pos x="355" y="87"/>
                    </a:cxn>
                    <a:cxn ang="0">
                      <a:pos x="331" y="102"/>
                    </a:cxn>
                    <a:cxn ang="0">
                      <a:pos x="317" y="106"/>
                    </a:cxn>
                    <a:cxn ang="0">
                      <a:pos x="292" y="109"/>
                    </a:cxn>
                    <a:cxn ang="0">
                      <a:pos x="259" y="113"/>
                    </a:cxn>
                    <a:cxn ang="0">
                      <a:pos x="245" y="122"/>
                    </a:cxn>
                    <a:cxn ang="0">
                      <a:pos x="254" y="136"/>
                    </a:cxn>
                    <a:cxn ang="0">
                      <a:pos x="244" y="152"/>
                    </a:cxn>
                    <a:cxn ang="0">
                      <a:pos x="232" y="159"/>
                    </a:cxn>
                    <a:cxn ang="0">
                      <a:pos x="205" y="166"/>
                    </a:cxn>
                    <a:cxn ang="0">
                      <a:pos x="183" y="170"/>
                    </a:cxn>
                    <a:cxn ang="0">
                      <a:pos x="153" y="183"/>
                    </a:cxn>
                    <a:cxn ang="0">
                      <a:pos x="136" y="192"/>
                    </a:cxn>
                    <a:cxn ang="0">
                      <a:pos x="123" y="184"/>
                    </a:cxn>
                    <a:cxn ang="0">
                      <a:pos x="113" y="177"/>
                    </a:cxn>
                    <a:cxn ang="0">
                      <a:pos x="105" y="187"/>
                    </a:cxn>
                    <a:cxn ang="0">
                      <a:pos x="77" y="198"/>
                    </a:cxn>
                    <a:cxn ang="0">
                      <a:pos x="60" y="197"/>
                    </a:cxn>
                    <a:cxn ang="0">
                      <a:pos x="38" y="226"/>
                    </a:cxn>
                    <a:cxn ang="0">
                      <a:pos x="11" y="272"/>
                    </a:cxn>
                    <a:cxn ang="0">
                      <a:pos x="3" y="310"/>
                    </a:cxn>
                    <a:cxn ang="0">
                      <a:pos x="13" y="361"/>
                    </a:cxn>
                    <a:cxn ang="0">
                      <a:pos x="58" y="431"/>
                    </a:cxn>
                    <a:cxn ang="0">
                      <a:pos x="97" y="437"/>
                    </a:cxn>
                    <a:cxn ang="0">
                      <a:pos x="157" y="404"/>
                    </a:cxn>
                    <a:cxn ang="0">
                      <a:pos x="207" y="416"/>
                    </a:cxn>
                    <a:cxn ang="0">
                      <a:pos x="241" y="402"/>
                    </a:cxn>
                    <a:cxn ang="0">
                      <a:pos x="242" y="360"/>
                    </a:cxn>
                    <a:cxn ang="0">
                      <a:pos x="263" y="334"/>
                    </a:cxn>
                    <a:cxn ang="0">
                      <a:pos x="306" y="324"/>
                    </a:cxn>
                    <a:cxn ang="0">
                      <a:pos x="336" y="361"/>
                    </a:cxn>
                    <a:cxn ang="0">
                      <a:pos x="365" y="365"/>
                    </a:cxn>
                    <a:cxn ang="0">
                      <a:pos x="446" y="367"/>
                    </a:cxn>
                    <a:cxn ang="0">
                      <a:pos x="480" y="345"/>
                    </a:cxn>
                    <a:cxn ang="0">
                      <a:pos x="518" y="339"/>
                    </a:cxn>
                    <a:cxn ang="0">
                      <a:pos x="561" y="328"/>
                    </a:cxn>
                    <a:cxn ang="0">
                      <a:pos x="569" y="337"/>
                    </a:cxn>
                    <a:cxn ang="0">
                      <a:pos x="592" y="322"/>
                    </a:cxn>
                    <a:cxn ang="0">
                      <a:pos x="650" y="318"/>
                    </a:cxn>
                    <a:cxn ang="0">
                      <a:pos x="682" y="334"/>
                    </a:cxn>
                    <a:cxn ang="0">
                      <a:pos x="712" y="316"/>
                    </a:cxn>
                    <a:cxn ang="0">
                      <a:pos x="675" y="276"/>
                    </a:cxn>
                    <a:cxn ang="0">
                      <a:pos x="657" y="253"/>
                    </a:cxn>
                    <a:cxn ang="0">
                      <a:pos x="637" y="226"/>
                    </a:cxn>
                    <a:cxn ang="0">
                      <a:pos x="593" y="192"/>
                    </a:cxn>
                    <a:cxn ang="0">
                      <a:pos x="587" y="166"/>
                    </a:cxn>
                    <a:cxn ang="0">
                      <a:pos x="546" y="152"/>
                    </a:cxn>
                    <a:cxn ang="0">
                      <a:pos x="517" y="129"/>
                    </a:cxn>
                    <a:cxn ang="0">
                      <a:pos x="494" y="105"/>
                    </a:cxn>
                    <a:cxn ang="0">
                      <a:pos x="496" y="55"/>
                    </a:cxn>
                    <a:cxn ang="0">
                      <a:pos x="453" y="0"/>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11" name="Freeform 36"/>
                <p:cNvSpPr>
                  <a:spLocks noChangeAspect="1"/>
                </p:cNvSpPr>
                <p:nvPr/>
              </p:nvSpPr>
              <p:spPr bwMode="gray">
                <a:xfrm>
                  <a:off x="4912518" y="3651597"/>
                  <a:ext cx="96838" cy="109538"/>
                </a:xfrm>
                <a:custGeom>
                  <a:avLst/>
                  <a:gdLst/>
                  <a:ahLst/>
                  <a:cxnLst>
                    <a:cxn ang="0">
                      <a:pos x="120" y="330"/>
                    </a:cxn>
                    <a:cxn ang="0">
                      <a:pos x="97" y="305"/>
                    </a:cxn>
                    <a:cxn ang="0">
                      <a:pos x="54" y="262"/>
                    </a:cxn>
                    <a:cxn ang="0">
                      <a:pos x="34" y="237"/>
                    </a:cxn>
                    <a:cxn ang="0">
                      <a:pos x="17" y="208"/>
                    </a:cxn>
                    <a:cxn ang="0">
                      <a:pos x="4" y="177"/>
                    </a:cxn>
                    <a:cxn ang="0">
                      <a:pos x="4" y="167"/>
                    </a:cxn>
                    <a:cxn ang="0">
                      <a:pos x="17" y="156"/>
                    </a:cxn>
                    <a:cxn ang="0">
                      <a:pos x="27" y="138"/>
                    </a:cxn>
                    <a:cxn ang="0">
                      <a:pos x="31" y="113"/>
                    </a:cxn>
                    <a:cxn ang="0">
                      <a:pos x="45" y="122"/>
                    </a:cxn>
                    <a:cxn ang="0">
                      <a:pos x="60" y="120"/>
                    </a:cxn>
                    <a:cxn ang="0">
                      <a:pos x="47" y="115"/>
                    </a:cxn>
                    <a:cxn ang="0">
                      <a:pos x="34" y="105"/>
                    </a:cxn>
                    <a:cxn ang="0">
                      <a:pos x="33" y="94"/>
                    </a:cxn>
                    <a:cxn ang="0">
                      <a:pos x="43" y="89"/>
                    </a:cxn>
                    <a:cxn ang="0">
                      <a:pos x="66" y="68"/>
                    </a:cxn>
                    <a:cxn ang="0">
                      <a:pos x="135" y="63"/>
                    </a:cxn>
                    <a:cxn ang="0">
                      <a:pos x="131" y="20"/>
                    </a:cxn>
                    <a:cxn ang="0">
                      <a:pos x="151" y="2"/>
                    </a:cxn>
                    <a:cxn ang="0">
                      <a:pos x="185" y="0"/>
                    </a:cxn>
                    <a:cxn ang="0">
                      <a:pos x="237" y="5"/>
                    </a:cxn>
                    <a:cxn ang="0">
                      <a:pos x="239" y="22"/>
                    </a:cxn>
                    <a:cxn ang="0">
                      <a:pos x="239" y="59"/>
                    </a:cxn>
                    <a:cxn ang="0">
                      <a:pos x="264" y="41"/>
                    </a:cxn>
                    <a:cxn ang="0">
                      <a:pos x="303" y="61"/>
                    </a:cxn>
                    <a:cxn ang="0">
                      <a:pos x="286" y="111"/>
                    </a:cxn>
                    <a:cxn ang="0">
                      <a:pos x="289" y="142"/>
                    </a:cxn>
                    <a:cxn ang="0">
                      <a:pos x="299" y="186"/>
                    </a:cxn>
                    <a:cxn ang="0">
                      <a:pos x="293" y="236"/>
                    </a:cxn>
                    <a:cxn ang="0">
                      <a:pos x="272" y="258"/>
                    </a:cxn>
                    <a:cxn ang="0">
                      <a:pos x="229" y="245"/>
                    </a:cxn>
                    <a:cxn ang="0">
                      <a:pos x="212" y="229"/>
                    </a:cxn>
                    <a:cxn ang="0">
                      <a:pos x="192" y="248"/>
                    </a:cxn>
                    <a:cxn ang="0">
                      <a:pos x="159" y="266"/>
                    </a:cxn>
                    <a:cxn ang="0">
                      <a:pos x="153" y="287"/>
                    </a:cxn>
                    <a:cxn ang="0">
                      <a:pos x="160" y="314"/>
                    </a:cxn>
                    <a:cxn ang="0">
                      <a:pos x="146" y="318"/>
                    </a:cxn>
                    <a:cxn ang="0">
                      <a:pos x="129" y="328"/>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12" name="Freeform 37"/>
                <p:cNvSpPr>
                  <a:spLocks noChangeAspect="1"/>
                </p:cNvSpPr>
                <p:nvPr/>
              </p:nvSpPr>
              <p:spPr bwMode="gray">
                <a:xfrm>
                  <a:off x="4466431" y="3449984"/>
                  <a:ext cx="53975" cy="14288"/>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13" name="Freeform 38"/>
                <p:cNvSpPr>
                  <a:spLocks noChangeAspect="1"/>
                </p:cNvSpPr>
                <p:nvPr/>
              </p:nvSpPr>
              <p:spPr bwMode="gray">
                <a:xfrm>
                  <a:off x="4468018" y="3470622"/>
                  <a:ext cx="55563" cy="30163"/>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14" name="Freeform 39"/>
                <p:cNvSpPr>
                  <a:spLocks noChangeAspect="1"/>
                </p:cNvSpPr>
                <p:nvPr/>
              </p:nvSpPr>
              <p:spPr bwMode="gray">
                <a:xfrm>
                  <a:off x="4560093" y="3543647"/>
                  <a:ext cx="71438" cy="73025"/>
                </a:xfrm>
                <a:custGeom>
                  <a:avLst/>
                  <a:gdLst/>
                  <a:ahLst/>
                  <a:cxnLst>
                    <a:cxn ang="0">
                      <a:pos x="4" y="86"/>
                    </a:cxn>
                    <a:cxn ang="0">
                      <a:pos x="10" y="77"/>
                    </a:cxn>
                    <a:cxn ang="0">
                      <a:pos x="13" y="71"/>
                    </a:cxn>
                    <a:cxn ang="0">
                      <a:pos x="19" y="68"/>
                    </a:cxn>
                    <a:cxn ang="0">
                      <a:pos x="31" y="57"/>
                    </a:cxn>
                    <a:cxn ang="0">
                      <a:pos x="41" y="49"/>
                    </a:cxn>
                    <a:cxn ang="0">
                      <a:pos x="47" y="44"/>
                    </a:cxn>
                    <a:cxn ang="0">
                      <a:pos x="51" y="27"/>
                    </a:cxn>
                    <a:cxn ang="0">
                      <a:pos x="58" y="19"/>
                    </a:cxn>
                    <a:cxn ang="0">
                      <a:pos x="68" y="17"/>
                    </a:cxn>
                    <a:cxn ang="0">
                      <a:pos x="65" y="8"/>
                    </a:cxn>
                    <a:cxn ang="0">
                      <a:pos x="71" y="2"/>
                    </a:cxn>
                    <a:cxn ang="0">
                      <a:pos x="79" y="1"/>
                    </a:cxn>
                    <a:cxn ang="0">
                      <a:pos x="86" y="6"/>
                    </a:cxn>
                    <a:cxn ang="0">
                      <a:pos x="97" y="1"/>
                    </a:cxn>
                    <a:cxn ang="0">
                      <a:pos x="100" y="3"/>
                    </a:cxn>
                    <a:cxn ang="0">
                      <a:pos x="110" y="12"/>
                    </a:cxn>
                    <a:cxn ang="0">
                      <a:pos x="114" y="25"/>
                    </a:cxn>
                    <a:cxn ang="0">
                      <a:pos x="118" y="41"/>
                    </a:cxn>
                    <a:cxn ang="0">
                      <a:pos x="114" y="60"/>
                    </a:cxn>
                    <a:cxn ang="0">
                      <a:pos x="110" y="65"/>
                    </a:cxn>
                    <a:cxn ang="0">
                      <a:pos x="116" y="66"/>
                    </a:cxn>
                    <a:cxn ang="0">
                      <a:pos x="122" y="64"/>
                    </a:cxn>
                    <a:cxn ang="0">
                      <a:pos x="132" y="75"/>
                    </a:cxn>
                    <a:cxn ang="0">
                      <a:pos x="139" y="71"/>
                    </a:cxn>
                    <a:cxn ang="0">
                      <a:pos x="148" y="66"/>
                    </a:cxn>
                    <a:cxn ang="0">
                      <a:pos x="153" y="51"/>
                    </a:cxn>
                    <a:cxn ang="0">
                      <a:pos x="162" y="50"/>
                    </a:cxn>
                    <a:cxn ang="0">
                      <a:pos x="167" y="61"/>
                    </a:cxn>
                    <a:cxn ang="0">
                      <a:pos x="171" y="71"/>
                    </a:cxn>
                    <a:cxn ang="0">
                      <a:pos x="173" y="76"/>
                    </a:cxn>
                    <a:cxn ang="0">
                      <a:pos x="175" y="95"/>
                    </a:cxn>
                    <a:cxn ang="0">
                      <a:pos x="165" y="105"/>
                    </a:cxn>
                    <a:cxn ang="0">
                      <a:pos x="161" y="113"/>
                    </a:cxn>
                    <a:cxn ang="0">
                      <a:pos x="165" y="115"/>
                    </a:cxn>
                    <a:cxn ang="0">
                      <a:pos x="170" y="116"/>
                    </a:cxn>
                    <a:cxn ang="0">
                      <a:pos x="176" y="118"/>
                    </a:cxn>
                    <a:cxn ang="0">
                      <a:pos x="193" y="123"/>
                    </a:cxn>
                    <a:cxn ang="0">
                      <a:pos x="199" y="130"/>
                    </a:cxn>
                    <a:cxn ang="0">
                      <a:pos x="202" y="135"/>
                    </a:cxn>
                    <a:cxn ang="0">
                      <a:pos x="207" y="143"/>
                    </a:cxn>
                    <a:cxn ang="0">
                      <a:pos x="218" y="150"/>
                    </a:cxn>
                    <a:cxn ang="0">
                      <a:pos x="224" y="153"/>
                    </a:cxn>
                    <a:cxn ang="0">
                      <a:pos x="227" y="164"/>
                    </a:cxn>
                    <a:cxn ang="0">
                      <a:pos x="227" y="177"/>
                    </a:cxn>
                    <a:cxn ang="0">
                      <a:pos x="223" y="178"/>
                    </a:cxn>
                    <a:cxn ang="0">
                      <a:pos x="221" y="189"/>
                    </a:cxn>
                    <a:cxn ang="0">
                      <a:pos x="218" y="191"/>
                    </a:cxn>
                    <a:cxn ang="0">
                      <a:pos x="216" y="201"/>
                    </a:cxn>
                    <a:cxn ang="0">
                      <a:pos x="196" y="224"/>
                    </a:cxn>
                    <a:cxn ang="0">
                      <a:pos x="186" y="217"/>
                    </a:cxn>
                    <a:cxn ang="0">
                      <a:pos x="169" y="215"/>
                    </a:cxn>
                    <a:cxn ang="0">
                      <a:pos x="154" y="206"/>
                    </a:cxn>
                    <a:cxn ang="0">
                      <a:pos x="133" y="193"/>
                    </a:cxn>
                    <a:cxn ang="0">
                      <a:pos x="105" y="169"/>
                    </a:cxn>
                    <a:cxn ang="0">
                      <a:pos x="64" y="135"/>
                    </a:cxn>
                    <a:cxn ang="0">
                      <a:pos x="49" y="129"/>
                    </a:cxn>
                    <a:cxn ang="0">
                      <a:pos x="28" y="109"/>
                    </a:cxn>
                    <a:cxn ang="0">
                      <a:pos x="16" y="103"/>
                    </a:cxn>
                    <a:cxn ang="0">
                      <a:pos x="15" y="95"/>
                    </a:cxn>
                    <a:cxn ang="0">
                      <a:pos x="3" y="88"/>
                    </a:cxn>
                    <a:cxn ang="0">
                      <a:pos x="3" y="87"/>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15" name="Freeform 40"/>
                <p:cNvSpPr>
                  <a:spLocks noChangeAspect="1"/>
                </p:cNvSpPr>
                <p:nvPr/>
              </p:nvSpPr>
              <p:spPr bwMode="gray">
                <a:xfrm>
                  <a:off x="4806156" y="3449984"/>
                  <a:ext cx="204788" cy="169863"/>
                </a:xfrm>
                <a:custGeom>
                  <a:avLst/>
                  <a:gdLst/>
                  <a:ahLst/>
                  <a:cxnLst>
                    <a:cxn ang="0">
                      <a:pos x="48" y="85"/>
                    </a:cxn>
                    <a:cxn ang="0">
                      <a:pos x="55" y="67"/>
                    </a:cxn>
                    <a:cxn ang="0">
                      <a:pos x="75" y="43"/>
                    </a:cxn>
                    <a:cxn ang="0">
                      <a:pos x="96" y="9"/>
                    </a:cxn>
                    <a:cxn ang="0">
                      <a:pos x="139" y="3"/>
                    </a:cxn>
                    <a:cxn ang="0">
                      <a:pos x="199" y="20"/>
                    </a:cxn>
                    <a:cxn ang="0">
                      <a:pos x="233" y="48"/>
                    </a:cxn>
                    <a:cxn ang="0">
                      <a:pos x="264" y="30"/>
                    </a:cxn>
                    <a:cxn ang="0">
                      <a:pos x="303" y="37"/>
                    </a:cxn>
                    <a:cxn ang="0">
                      <a:pos x="362" y="58"/>
                    </a:cxn>
                    <a:cxn ang="0">
                      <a:pos x="406" y="32"/>
                    </a:cxn>
                    <a:cxn ang="0">
                      <a:pos x="459" y="30"/>
                    </a:cxn>
                    <a:cxn ang="0">
                      <a:pos x="496" y="26"/>
                    </a:cxn>
                    <a:cxn ang="0">
                      <a:pos x="517" y="36"/>
                    </a:cxn>
                    <a:cxn ang="0">
                      <a:pos x="544" y="22"/>
                    </a:cxn>
                    <a:cxn ang="0">
                      <a:pos x="558" y="15"/>
                    </a:cxn>
                    <a:cxn ang="0">
                      <a:pos x="571" y="3"/>
                    </a:cxn>
                    <a:cxn ang="0">
                      <a:pos x="581" y="20"/>
                    </a:cxn>
                    <a:cxn ang="0">
                      <a:pos x="604" y="43"/>
                    </a:cxn>
                    <a:cxn ang="0">
                      <a:pos x="624" y="76"/>
                    </a:cxn>
                    <a:cxn ang="0">
                      <a:pos x="639" y="84"/>
                    </a:cxn>
                    <a:cxn ang="0">
                      <a:pos x="642" y="119"/>
                    </a:cxn>
                    <a:cxn ang="0">
                      <a:pos x="604" y="142"/>
                    </a:cxn>
                    <a:cxn ang="0">
                      <a:pos x="587" y="159"/>
                    </a:cxn>
                    <a:cxn ang="0">
                      <a:pos x="567" y="207"/>
                    </a:cxn>
                    <a:cxn ang="0">
                      <a:pos x="554" y="257"/>
                    </a:cxn>
                    <a:cxn ang="0">
                      <a:pos x="549" y="280"/>
                    </a:cxn>
                    <a:cxn ang="0">
                      <a:pos x="517" y="315"/>
                    </a:cxn>
                    <a:cxn ang="0">
                      <a:pos x="501" y="360"/>
                    </a:cxn>
                    <a:cxn ang="0">
                      <a:pos x="478" y="406"/>
                    </a:cxn>
                    <a:cxn ang="0">
                      <a:pos x="447" y="401"/>
                    </a:cxn>
                    <a:cxn ang="0">
                      <a:pos x="440" y="392"/>
                    </a:cxn>
                    <a:cxn ang="0">
                      <a:pos x="392" y="386"/>
                    </a:cxn>
                    <a:cxn ang="0">
                      <a:pos x="371" y="403"/>
                    </a:cxn>
                    <a:cxn ang="0">
                      <a:pos x="344" y="427"/>
                    </a:cxn>
                    <a:cxn ang="0">
                      <a:pos x="330" y="472"/>
                    </a:cxn>
                    <a:cxn ang="0">
                      <a:pos x="313" y="497"/>
                    </a:cxn>
                    <a:cxn ang="0">
                      <a:pos x="304" y="497"/>
                    </a:cxn>
                    <a:cxn ang="0">
                      <a:pos x="276" y="516"/>
                    </a:cxn>
                    <a:cxn ang="0">
                      <a:pos x="237" y="515"/>
                    </a:cxn>
                    <a:cxn ang="0">
                      <a:pos x="227" y="524"/>
                    </a:cxn>
                    <a:cxn ang="0">
                      <a:pos x="216" y="522"/>
                    </a:cxn>
                    <a:cxn ang="0">
                      <a:pos x="193" y="532"/>
                    </a:cxn>
                    <a:cxn ang="0">
                      <a:pos x="180" y="524"/>
                    </a:cxn>
                    <a:cxn ang="0">
                      <a:pos x="151" y="500"/>
                    </a:cxn>
                    <a:cxn ang="0">
                      <a:pos x="151" y="467"/>
                    </a:cxn>
                    <a:cxn ang="0">
                      <a:pos x="136" y="454"/>
                    </a:cxn>
                    <a:cxn ang="0">
                      <a:pos x="126" y="444"/>
                    </a:cxn>
                    <a:cxn ang="0">
                      <a:pos x="96" y="417"/>
                    </a:cxn>
                    <a:cxn ang="0">
                      <a:pos x="5" y="417"/>
                    </a:cxn>
                    <a:cxn ang="0">
                      <a:pos x="1" y="366"/>
                    </a:cxn>
                    <a:cxn ang="0">
                      <a:pos x="6" y="295"/>
                    </a:cxn>
                    <a:cxn ang="0">
                      <a:pos x="23" y="248"/>
                    </a:cxn>
                    <a:cxn ang="0">
                      <a:pos x="49" y="218"/>
                    </a:cxn>
                    <a:cxn ang="0">
                      <a:pos x="53" y="208"/>
                    </a:cxn>
                    <a:cxn ang="0">
                      <a:pos x="48" y="197"/>
                    </a:cxn>
                    <a:cxn ang="0">
                      <a:pos x="58" y="189"/>
                    </a:cxn>
                    <a:cxn ang="0">
                      <a:pos x="55" y="154"/>
                    </a:cxn>
                    <a:cxn ang="0">
                      <a:pos x="43" y="134"/>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solidFill>
                  <a:schemeClr val="accent1">
                    <a:lumMod val="20000"/>
                    <a:lumOff val="80000"/>
                  </a:schemeClr>
                </a:solidFill>
                <a:ln w="3175" cap="flat" cmpd="sng">
                  <a:solidFill>
                    <a:schemeClr val="bg1"/>
                  </a:solidFill>
                  <a:prstDash val="solid"/>
                  <a:round/>
                  <a:headEnd type="none" w="med" len="med"/>
                  <a:tailEnd type="none" w="med" len="med"/>
                </a:ln>
                <a:effectLst/>
              </p:spPr>
              <p:txBody>
                <a:bodyPr/>
                <a:lstStyle/>
                <a:p>
                  <a:pPr defTabSz="914400"/>
                  <a:endParaRPr lang="en-US" kern="0" dirty="0">
                    <a:solidFill>
                      <a:sysClr val="windowText" lastClr="000000"/>
                    </a:solidFill>
                  </a:endParaRPr>
                </a:p>
              </p:txBody>
            </p:sp>
            <p:sp>
              <p:nvSpPr>
                <p:cNvPr id="916" name="Freeform 41"/>
                <p:cNvSpPr>
                  <a:spLocks noChangeAspect="1"/>
                </p:cNvSpPr>
                <p:nvPr/>
              </p:nvSpPr>
              <p:spPr bwMode="gray">
                <a:xfrm>
                  <a:off x="4952206" y="3627784"/>
                  <a:ext cx="133350" cy="152400"/>
                </a:xfrm>
                <a:custGeom>
                  <a:avLst/>
                  <a:gdLst/>
                  <a:ahLst/>
                  <a:cxnLst>
                    <a:cxn ang="0">
                      <a:pos x="408" y="5"/>
                    </a:cxn>
                    <a:cxn ang="0">
                      <a:pos x="377" y="16"/>
                    </a:cxn>
                    <a:cxn ang="0">
                      <a:pos x="343" y="0"/>
                    </a:cxn>
                    <a:cxn ang="0">
                      <a:pos x="300" y="17"/>
                    </a:cxn>
                    <a:cxn ang="0">
                      <a:pos x="274" y="47"/>
                    </a:cxn>
                    <a:cxn ang="0">
                      <a:pos x="274" y="101"/>
                    </a:cxn>
                    <a:cxn ang="0">
                      <a:pos x="267" y="114"/>
                    </a:cxn>
                    <a:cxn ang="0">
                      <a:pos x="234" y="96"/>
                    </a:cxn>
                    <a:cxn ang="0">
                      <a:pos x="205" y="90"/>
                    </a:cxn>
                    <a:cxn ang="0">
                      <a:pos x="118" y="84"/>
                    </a:cxn>
                    <a:cxn ang="0">
                      <a:pos x="111" y="117"/>
                    </a:cxn>
                    <a:cxn ang="0">
                      <a:pos x="121" y="140"/>
                    </a:cxn>
                    <a:cxn ang="0">
                      <a:pos x="166" y="124"/>
                    </a:cxn>
                    <a:cxn ang="0">
                      <a:pos x="177" y="157"/>
                    </a:cxn>
                    <a:cxn ang="0">
                      <a:pos x="158" y="204"/>
                    </a:cxn>
                    <a:cxn ang="0">
                      <a:pos x="173" y="246"/>
                    </a:cxn>
                    <a:cxn ang="0">
                      <a:pos x="169" y="275"/>
                    </a:cxn>
                    <a:cxn ang="0">
                      <a:pos x="161" y="329"/>
                    </a:cxn>
                    <a:cxn ang="0">
                      <a:pos x="127" y="318"/>
                    </a:cxn>
                    <a:cxn ang="0">
                      <a:pos x="92" y="310"/>
                    </a:cxn>
                    <a:cxn ang="0">
                      <a:pos x="74" y="313"/>
                    </a:cxn>
                    <a:cxn ang="0">
                      <a:pos x="42" y="333"/>
                    </a:cxn>
                    <a:cxn ang="0">
                      <a:pos x="27" y="350"/>
                    </a:cxn>
                    <a:cxn ang="0">
                      <a:pos x="31" y="375"/>
                    </a:cxn>
                    <a:cxn ang="0">
                      <a:pos x="31" y="394"/>
                    </a:cxn>
                    <a:cxn ang="0">
                      <a:pos x="8" y="397"/>
                    </a:cxn>
                    <a:cxn ang="0">
                      <a:pos x="0" y="419"/>
                    </a:cxn>
                    <a:cxn ang="0">
                      <a:pos x="19" y="434"/>
                    </a:cxn>
                    <a:cxn ang="0">
                      <a:pos x="40" y="456"/>
                    </a:cxn>
                    <a:cxn ang="0">
                      <a:pos x="63" y="469"/>
                    </a:cxn>
                    <a:cxn ang="0">
                      <a:pos x="80" y="449"/>
                    </a:cxn>
                    <a:cxn ang="0">
                      <a:pos x="100" y="447"/>
                    </a:cxn>
                    <a:cxn ang="0">
                      <a:pos x="121" y="468"/>
                    </a:cxn>
                    <a:cxn ang="0">
                      <a:pos x="140" y="452"/>
                    </a:cxn>
                    <a:cxn ang="0">
                      <a:pos x="161" y="444"/>
                    </a:cxn>
                    <a:cxn ang="0">
                      <a:pos x="177" y="445"/>
                    </a:cxn>
                    <a:cxn ang="0">
                      <a:pos x="188" y="466"/>
                    </a:cxn>
                    <a:cxn ang="0">
                      <a:pos x="232" y="437"/>
                    </a:cxn>
                    <a:cxn ang="0">
                      <a:pos x="261" y="415"/>
                    </a:cxn>
                    <a:cxn ang="0">
                      <a:pos x="278" y="376"/>
                    </a:cxn>
                    <a:cxn ang="0">
                      <a:pos x="282" y="337"/>
                    </a:cxn>
                    <a:cxn ang="0">
                      <a:pos x="312" y="280"/>
                    </a:cxn>
                    <a:cxn ang="0">
                      <a:pos x="348" y="254"/>
                    </a:cxn>
                    <a:cxn ang="0">
                      <a:pos x="364" y="237"/>
                    </a:cxn>
                    <a:cxn ang="0">
                      <a:pos x="372" y="141"/>
                    </a:cxn>
                    <a:cxn ang="0">
                      <a:pos x="391" y="73"/>
                    </a:cxn>
                    <a:cxn ang="0">
                      <a:pos x="417" y="17"/>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17" name="Freeform 42"/>
                <p:cNvSpPr>
                  <a:spLocks noChangeAspect="1"/>
                </p:cNvSpPr>
                <p:nvPr/>
              </p:nvSpPr>
              <p:spPr bwMode="gray">
                <a:xfrm>
                  <a:off x="4922043" y="3653184"/>
                  <a:ext cx="33338" cy="22225"/>
                </a:xfrm>
                <a:custGeom>
                  <a:avLst/>
                  <a:gdLst/>
                  <a:ahLst/>
                  <a:cxnLst>
                    <a:cxn ang="0">
                      <a:pos x="107" y="0"/>
                    </a:cxn>
                    <a:cxn ang="0">
                      <a:pos x="67" y="0"/>
                    </a:cxn>
                    <a:cxn ang="0">
                      <a:pos x="25" y="3"/>
                    </a:cxn>
                    <a:cxn ang="0">
                      <a:pos x="21" y="4"/>
                    </a:cxn>
                    <a:cxn ang="0">
                      <a:pos x="21" y="14"/>
                    </a:cxn>
                    <a:cxn ang="0">
                      <a:pos x="14" y="26"/>
                    </a:cxn>
                    <a:cxn ang="0">
                      <a:pos x="11" y="37"/>
                    </a:cxn>
                    <a:cxn ang="0">
                      <a:pos x="0" y="56"/>
                    </a:cxn>
                    <a:cxn ang="0">
                      <a:pos x="15" y="63"/>
                    </a:cxn>
                    <a:cxn ang="0">
                      <a:pos x="15" y="65"/>
                    </a:cxn>
                    <a:cxn ang="0">
                      <a:pos x="13" y="69"/>
                    </a:cxn>
                    <a:cxn ang="0">
                      <a:pos x="13" y="68"/>
                    </a:cxn>
                    <a:cxn ang="0">
                      <a:pos x="36" y="63"/>
                    </a:cxn>
                    <a:cxn ang="0">
                      <a:pos x="107" y="60"/>
                    </a:cxn>
                    <a:cxn ang="0">
                      <a:pos x="105" y="58"/>
                    </a:cxn>
                    <a:cxn ang="0">
                      <a:pos x="102" y="38"/>
                    </a:cxn>
                    <a:cxn ang="0">
                      <a:pos x="101" y="15"/>
                    </a:cxn>
                    <a:cxn ang="0">
                      <a:pos x="107" y="0"/>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18" name="Freeform 43"/>
                <p:cNvSpPr>
                  <a:spLocks noChangeAspect="1"/>
                </p:cNvSpPr>
                <p:nvPr/>
              </p:nvSpPr>
              <p:spPr bwMode="gray">
                <a:xfrm>
                  <a:off x="5268117" y="3732559"/>
                  <a:ext cx="28575" cy="34925"/>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19" name="Freeform 44"/>
                <p:cNvSpPr>
                  <a:spLocks noChangeAspect="1"/>
                </p:cNvSpPr>
                <p:nvPr/>
              </p:nvSpPr>
              <p:spPr bwMode="gray">
                <a:xfrm>
                  <a:off x="5277642" y="3619847"/>
                  <a:ext cx="92075" cy="96838"/>
                </a:xfrm>
                <a:custGeom>
                  <a:avLst/>
                  <a:gdLst/>
                  <a:ahLst/>
                  <a:cxnLst>
                    <a:cxn ang="0">
                      <a:pos x="232" y="0"/>
                    </a:cxn>
                    <a:cxn ang="0">
                      <a:pos x="205" y="21"/>
                    </a:cxn>
                    <a:cxn ang="0">
                      <a:pos x="170" y="19"/>
                    </a:cxn>
                    <a:cxn ang="0">
                      <a:pos x="143" y="25"/>
                    </a:cxn>
                    <a:cxn ang="0">
                      <a:pos x="120" y="22"/>
                    </a:cxn>
                    <a:cxn ang="0">
                      <a:pos x="98" y="25"/>
                    </a:cxn>
                    <a:cxn ang="0">
                      <a:pos x="73" y="23"/>
                    </a:cxn>
                    <a:cxn ang="0">
                      <a:pos x="66" y="32"/>
                    </a:cxn>
                    <a:cxn ang="0">
                      <a:pos x="60" y="59"/>
                    </a:cxn>
                    <a:cxn ang="0">
                      <a:pos x="63" y="89"/>
                    </a:cxn>
                    <a:cxn ang="0">
                      <a:pos x="73" y="98"/>
                    </a:cxn>
                    <a:cxn ang="0">
                      <a:pos x="84" y="105"/>
                    </a:cxn>
                    <a:cxn ang="0">
                      <a:pos x="82" y="121"/>
                    </a:cxn>
                    <a:cxn ang="0">
                      <a:pos x="67" y="135"/>
                    </a:cxn>
                    <a:cxn ang="0">
                      <a:pos x="52" y="147"/>
                    </a:cxn>
                    <a:cxn ang="0">
                      <a:pos x="44" y="159"/>
                    </a:cxn>
                    <a:cxn ang="0">
                      <a:pos x="20" y="186"/>
                    </a:cxn>
                    <a:cxn ang="0">
                      <a:pos x="11" y="202"/>
                    </a:cxn>
                    <a:cxn ang="0">
                      <a:pos x="3" y="247"/>
                    </a:cxn>
                    <a:cxn ang="0">
                      <a:pos x="0" y="296"/>
                    </a:cxn>
                    <a:cxn ang="0">
                      <a:pos x="11" y="302"/>
                    </a:cxn>
                    <a:cxn ang="0">
                      <a:pos x="25" y="290"/>
                    </a:cxn>
                    <a:cxn ang="0">
                      <a:pos x="36" y="285"/>
                    </a:cxn>
                    <a:cxn ang="0">
                      <a:pos x="63" y="283"/>
                    </a:cxn>
                    <a:cxn ang="0">
                      <a:pos x="70" y="278"/>
                    </a:cxn>
                    <a:cxn ang="0">
                      <a:pos x="110" y="274"/>
                    </a:cxn>
                    <a:cxn ang="0">
                      <a:pos x="120" y="240"/>
                    </a:cxn>
                    <a:cxn ang="0">
                      <a:pos x="132" y="232"/>
                    </a:cxn>
                    <a:cxn ang="0">
                      <a:pos x="147" y="221"/>
                    </a:cxn>
                    <a:cxn ang="0">
                      <a:pos x="157" y="222"/>
                    </a:cxn>
                    <a:cxn ang="0">
                      <a:pos x="164" y="218"/>
                    </a:cxn>
                    <a:cxn ang="0">
                      <a:pos x="183" y="223"/>
                    </a:cxn>
                    <a:cxn ang="0">
                      <a:pos x="201" y="211"/>
                    </a:cxn>
                    <a:cxn ang="0">
                      <a:pos x="223" y="213"/>
                    </a:cxn>
                    <a:cxn ang="0">
                      <a:pos x="234" y="213"/>
                    </a:cxn>
                    <a:cxn ang="0">
                      <a:pos x="258" y="181"/>
                    </a:cxn>
                    <a:cxn ang="0">
                      <a:pos x="270" y="167"/>
                    </a:cxn>
                    <a:cxn ang="0">
                      <a:pos x="286" y="143"/>
                    </a:cxn>
                    <a:cxn ang="0">
                      <a:pos x="289" y="110"/>
                    </a:cxn>
                    <a:cxn ang="0">
                      <a:pos x="287" y="82"/>
                    </a:cxn>
                    <a:cxn ang="0">
                      <a:pos x="278" y="67"/>
                    </a:cxn>
                    <a:cxn ang="0">
                      <a:pos x="267" y="61"/>
                    </a:cxn>
                    <a:cxn ang="0">
                      <a:pos x="260" y="50"/>
                    </a:cxn>
                    <a:cxn ang="0">
                      <a:pos x="253" y="21"/>
                    </a:cxn>
                    <a:cxn ang="0">
                      <a:pos x="251" y="11"/>
                    </a:cxn>
                    <a:cxn ang="0">
                      <a:pos x="237" y="7"/>
                    </a:cxn>
                    <a:cxn ang="0">
                      <a:pos x="232" y="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20" name="Freeform 45"/>
                <p:cNvSpPr>
                  <a:spLocks noChangeAspect="1"/>
                </p:cNvSpPr>
                <p:nvPr/>
              </p:nvSpPr>
              <p:spPr bwMode="gray">
                <a:xfrm>
                  <a:off x="5264942" y="3710334"/>
                  <a:ext cx="33338" cy="30163"/>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21" name="Freeform 46"/>
                <p:cNvSpPr>
                  <a:spLocks noChangeAspect="1"/>
                </p:cNvSpPr>
                <p:nvPr/>
              </p:nvSpPr>
              <p:spPr bwMode="gray">
                <a:xfrm>
                  <a:off x="5350667" y="3611909"/>
                  <a:ext cx="138113" cy="160338"/>
                </a:xfrm>
                <a:custGeom>
                  <a:avLst/>
                  <a:gdLst/>
                  <a:ahLst/>
                  <a:cxnLst>
                    <a:cxn ang="0">
                      <a:pos x="387" y="204"/>
                    </a:cxn>
                    <a:cxn ang="0">
                      <a:pos x="387" y="98"/>
                    </a:cxn>
                    <a:cxn ang="0">
                      <a:pos x="412" y="74"/>
                    </a:cxn>
                    <a:cxn ang="0">
                      <a:pos x="435" y="37"/>
                    </a:cxn>
                    <a:cxn ang="0">
                      <a:pos x="421" y="37"/>
                    </a:cxn>
                    <a:cxn ang="0">
                      <a:pos x="374" y="22"/>
                    </a:cxn>
                    <a:cxn ang="0">
                      <a:pos x="336" y="32"/>
                    </a:cxn>
                    <a:cxn ang="0">
                      <a:pos x="297" y="60"/>
                    </a:cxn>
                    <a:cxn ang="0">
                      <a:pos x="250" y="53"/>
                    </a:cxn>
                    <a:cxn ang="0">
                      <a:pos x="213" y="47"/>
                    </a:cxn>
                    <a:cxn ang="0">
                      <a:pos x="164" y="12"/>
                    </a:cxn>
                    <a:cxn ang="0">
                      <a:pos x="132" y="3"/>
                    </a:cxn>
                    <a:cxn ang="0">
                      <a:pos x="103" y="0"/>
                    </a:cxn>
                    <a:cxn ang="0">
                      <a:pos x="69" y="3"/>
                    </a:cxn>
                    <a:cxn ang="0">
                      <a:pos x="28" y="1"/>
                    </a:cxn>
                    <a:cxn ang="0">
                      <a:pos x="0" y="28"/>
                    </a:cxn>
                    <a:cxn ang="0">
                      <a:pos x="5" y="32"/>
                    </a:cxn>
                    <a:cxn ang="0">
                      <a:pos x="19" y="36"/>
                    </a:cxn>
                    <a:cxn ang="0">
                      <a:pos x="21" y="46"/>
                    </a:cxn>
                    <a:cxn ang="0">
                      <a:pos x="28" y="75"/>
                    </a:cxn>
                    <a:cxn ang="0">
                      <a:pos x="35" y="86"/>
                    </a:cxn>
                    <a:cxn ang="0">
                      <a:pos x="46" y="92"/>
                    </a:cxn>
                    <a:cxn ang="0">
                      <a:pos x="55" y="107"/>
                    </a:cxn>
                    <a:cxn ang="0">
                      <a:pos x="57" y="135"/>
                    </a:cxn>
                    <a:cxn ang="0">
                      <a:pos x="54" y="168"/>
                    </a:cxn>
                    <a:cxn ang="0">
                      <a:pos x="38" y="192"/>
                    </a:cxn>
                    <a:cxn ang="0">
                      <a:pos x="26" y="206"/>
                    </a:cxn>
                    <a:cxn ang="0">
                      <a:pos x="2" y="238"/>
                    </a:cxn>
                    <a:cxn ang="0">
                      <a:pos x="8" y="263"/>
                    </a:cxn>
                    <a:cxn ang="0">
                      <a:pos x="18" y="270"/>
                    </a:cxn>
                    <a:cxn ang="0">
                      <a:pos x="35" y="265"/>
                    </a:cxn>
                    <a:cxn ang="0">
                      <a:pos x="45" y="270"/>
                    </a:cxn>
                    <a:cxn ang="0">
                      <a:pos x="26" y="281"/>
                    </a:cxn>
                    <a:cxn ang="0">
                      <a:pos x="7" y="295"/>
                    </a:cxn>
                    <a:cxn ang="0">
                      <a:pos x="207" y="415"/>
                    </a:cxn>
                    <a:cxn ang="0">
                      <a:pos x="210" y="428"/>
                    </a:cxn>
                    <a:cxn ang="0">
                      <a:pos x="218" y="458"/>
                    </a:cxn>
                    <a:cxn ang="0">
                      <a:pos x="306" y="499"/>
                    </a:cxn>
                    <a:cxn ang="0">
                      <a:pos x="314" y="488"/>
                    </a:cxn>
                    <a:cxn ang="0">
                      <a:pos x="324" y="463"/>
                    </a:cxn>
                    <a:cxn ang="0">
                      <a:pos x="342" y="429"/>
                    </a:cxn>
                    <a:cxn ang="0">
                      <a:pos x="352" y="399"/>
                    </a:cxn>
                    <a:cxn ang="0">
                      <a:pos x="360" y="391"/>
                    </a:cxn>
                    <a:cxn ang="0">
                      <a:pos x="379" y="376"/>
                    </a:cxn>
                    <a:cxn ang="0">
                      <a:pos x="388" y="361"/>
                    </a:cxn>
                    <a:cxn ang="0">
                      <a:pos x="403" y="358"/>
                    </a:cxn>
                    <a:cxn ang="0">
                      <a:pos x="417" y="340"/>
                    </a:cxn>
                    <a:cxn ang="0">
                      <a:pos x="393" y="308"/>
                    </a:cxn>
                    <a:cxn ang="0">
                      <a:pos x="387" y="25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22" name="Freeform 47"/>
                <p:cNvSpPr>
                  <a:spLocks noChangeAspect="1"/>
                </p:cNvSpPr>
                <p:nvPr/>
              </p:nvSpPr>
              <p:spPr bwMode="gray">
                <a:xfrm>
                  <a:off x="4455318" y="3399184"/>
                  <a:ext cx="107950" cy="77788"/>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23" name="Freeform 48"/>
                <p:cNvSpPr>
                  <a:spLocks noChangeAspect="1"/>
                </p:cNvSpPr>
                <p:nvPr/>
              </p:nvSpPr>
              <p:spPr bwMode="gray">
                <a:xfrm>
                  <a:off x="5276055" y="3708747"/>
                  <a:ext cx="190500" cy="187325"/>
                </a:xfrm>
                <a:custGeom>
                  <a:avLst/>
                  <a:gdLst/>
                  <a:ahLst/>
                  <a:cxnLst>
                    <a:cxn ang="0">
                      <a:pos x="450" y="144"/>
                    </a:cxn>
                    <a:cxn ang="0">
                      <a:pos x="521" y="238"/>
                    </a:cxn>
                    <a:cxn ang="0">
                      <a:pos x="505" y="292"/>
                    </a:cxn>
                    <a:cxn ang="0">
                      <a:pos x="538" y="325"/>
                    </a:cxn>
                    <a:cxn ang="0">
                      <a:pos x="537" y="349"/>
                    </a:cxn>
                    <a:cxn ang="0">
                      <a:pos x="536" y="380"/>
                    </a:cxn>
                    <a:cxn ang="0">
                      <a:pos x="528" y="402"/>
                    </a:cxn>
                    <a:cxn ang="0">
                      <a:pos x="542" y="432"/>
                    </a:cxn>
                    <a:cxn ang="0">
                      <a:pos x="550" y="467"/>
                    </a:cxn>
                    <a:cxn ang="0">
                      <a:pos x="561" y="488"/>
                    </a:cxn>
                    <a:cxn ang="0">
                      <a:pos x="587" y="514"/>
                    </a:cxn>
                    <a:cxn ang="0">
                      <a:pos x="593" y="526"/>
                    </a:cxn>
                    <a:cxn ang="0">
                      <a:pos x="541" y="557"/>
                    </a:cxn>
                    <a:cxn ang="0">
                      <a:pos x="476" y="564"/>
                    </a:cxn>
                    <a:cxn ang="0">
                      <a:pos x="436" y="583"/>
                    </a:cxn>
                    <a:cxn ang="0">
                      <a:pos x="378" y="589"/>
                    </a:cxn>
                    <a:cxn ang="0">
                      <a:pos x="355" y="580"/>
                    </a:cxn>
                    <a:cxn ang="0">
                      <a:pos x="331" y="584"/>
                    </a:cxn>
                    <a:cxn ang="0">
                      <a:pos x="280" y="567"/>
                    </a:cxn>
                    <a:cxn ang="0">
                      <a:pos x="270" y="531"/>
                    </a:cxn>
                    <a:cxn ang="0">
                      <a:pos x="249" y="476"/>
                    </a:cxn>
                    <a:cxn ang="0">
                      <a:pos x="229" y="473"/>
                    </a:cxn>
                    <a:cxn ang="0">
                      <a:pos x="208" y="475"/>
                    </a:cxn>
                    <a:cxn ang="0">
                      <a:pos x="178" y="459"/>
                    </a:cxn>
                    <a:cxn ang="0">
                      <a:pos x="125" y="440"/>
                    </a:cxn>
                    <a:cxn ang="0">
                      <a:pos x="95" y="418"/>
                    </a:cxn>
                    <a:cxn ang="0">
                      <a:pos x="65" y="386"/>
                    </a:cxn>
                    <a:cxn ang="0">
                      <a:pos x="49" y="328"/>
                    </a:cxn>
                    <a:cxn ang="0">
                      <a:pos x="11" y="278"/>
                    </a:cxn>
                    <a:cxn ang="0">
                      <a:pos x="9" y="231"/>
                    </a:cxn>
                    <a:cxn ang="0">
                      <a:pos x="0" y="187"/>
                    </a:cxn>
                    <a:cxn ang="0">
                      <a:pos x="39" y="159"/>
                    </a:cxn>
                    <a:cxn ang="0">
                      <a:pos x="64" y="121"/>
                    </a:cxn>
                    <a:cxn ang="0">
                      <a:pos x="52" y="102"/>
                    </a:cxn>
                    <a:cxn ang="0">
                      <a:pos x="49" y="83"/>
                    </a:cxn>
                    <a:cxn ang="0">
                      <a:pos x="66" y="46"/>
                    </a:cxn>
                    <a:cxn ang="0">
                      <a:pos x="66" y="5"/>
                    </a:cxn>
                    <a:cxn ang="0">
                      <a:pos x="119" y="7"/>
                    </a:cxn>
                    <a:cxn ang="0">
                      <a:pos x="118" y="83"/>
                    </a:cxn>
                    <a:cxn ang="0">
                      <a:pos x="133" y="88"/>
                    </a:cxn>
                    <a:cxn ang="0">
                      <a:pos x="148" y="75"/>
                    </a:cxn>
                    <a:cxn ang="0">
                      <a:pos x="173" y="86"/>
                    </a:cxn>
                    <a:cxn ang="0">
                      <a:pos x="186" y="84"/>
                    </a:cxn>
                    <a:cxn ang="0">
                      <a:pos x="214" y="79"/>
                    </a:cxn>
                    <a:cxn ang="0">
                      <a:pos x="209" y="66"/>
                    </a:cxn>
                    <a:cxn ang="0">
                      <a:pos x="209" y="48"/>
                    </a:cxn>
                    <a:cxn ang="0">
                      <a:pos x="225" y="35"/>
                    </a:cxn>
                    <a:cxn ang="0">
                      <a:pos x="238" y="21"/>
                    </a:cxn>
                    <a:cxn ang="0">
                      <a:pos x="251" y="0"/>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24" name="Freeform 49"/>
                <p:cNvSpPr>
                  <a:spLocks noChangeAspect="1"/>
                </p:cNvSpPr>
                <p:nvPr/>
              </p:nvSpPr>
              <p:spPr bwMode="gray">
                <a:xfrm>
                  <a:off x="4528343" y="3518247"/>
                  <a:ext cx="52388" cy="52388"/>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25" name="Freeform 50"/>
                <p:cNvSpPr>
                  <a:spLocks noChangeAspect="1"/>
                </p:cNvSpPr>
                <p:nvPr/>
              </p:nvSpPr>
              <p:spPr bwMode="gray">
                <a:xfrm>
                  <a:off x="4610893" y="3505547"/>
                  <a:ext cx="106363" cy="111125"/>
                </a:xfrm>
                <a:custGeom>
                  <a:avLst/>
                  <a:gdLst/>
                  <a:ahLst/>
                  <a:cxnLst>
                    <a:cxn ang="0">
                      <a:pos x="97" y="342"/>
                    </a:cxn>
                    <a:cxn ang="0">
                      <a:pos x="173" y="317"/>
                    </a:cxn>
                    <a:cxn ang="0">
                      <a:pos x="258" y="307"/>
                    </a:cxn>
                    <a:cxn ang="0">
                      <a:pos x="301" y="315"/>
                    </a:cxn>
                    <a:cxn ang="0">
                      <a:pos x="317" y="310"/>
                    </a:cxn>
                    <a:cxn ang="0">
                      <a:pos x="318" y="280"/>
                    </a:cxn>
                    <a:cxn ang="0">
                      <a:pos x="296" y="238"/>
                    </a:cxn>
                    <a:cxn ang="0">
                      <a:pos x="307" y="199"/>
                    </a:cxn>
                    <a:cxn ang="0">
                      <a:pos x="318" y="161"/>
                    </a:cxn>
                    <a:cxn ang="0">
                      <a:pos x="332" y="144"/>
                    </a:cxn>
                    <a:cxn ang="0">
                      <a:pos x="327" y="95"/>
                    </a:cxn>
                    <a:cxn ang="0">
                      <a:pos x="326" y="82"/>
                    </a:cxn>
                    <a:cxn ang="0">
                      <a:pos x="322" y="70"/>
                    </a:cxn>
                    <a:cxn ang="0">
                      <a:pos x="307" y="54"/>
                    </a:cxn>
                    <a:cxn ang="0">
                      <a:pos x="290" y="48"/>
                    </a:cxn>
                    <a:cxn ang="0">
                      <a:pos x="250" y="49"/>
                    </a:cxn>
                    <a:cxn ang="0">
                      <a:pos x="230" y="61"/>
                    </a:cxn>
                    <a:cxn ang="0">
                      <a:pos x="218" y="57"/>
                    </a:cxn>
                    <a:cxn ang="0">
                      <a:pos x="205" y="50"/>
                    </a:cxn>
                    <a:cxn ang="0">
                      <a:pos x="197" y="39"/>
                    </a:cxn>
                    <a:cxn ang="0">
                      <a:pos x="188" y="30"/>
                    </a:cxn>
                    <a:cxn ang="0">
                      <a:pos x="173" y="25"/>
                    </a:cxn>
                    <a:cxn ang="0">
                      <a:pos x="154" y="16"/>
                    </a:cxn>
                    <a:cxn ang="0">
                      <a:pos x="140" y="27"/>
                    </a:cxn>
                    <a:cxn ang="0">
                      <a:pos x="129" y="10"/>
                    </a:cxn>
                    <a:cxn ang="0">
                      <a:pos x="124" y="1"/>
                    </a:cxn>
                    <a:cxn ang="0">
                      <a:pos x="108" y="5"/>
                    </a:cxn>
                    <a:cxn ang="0">
                      <a:pos x="105" y="18"/>
                    </a:cxn>
                    <a:cxn ang="0">
                      <a:pos x="86" y="27"/>
                    </a:cxn>
                    <a:cxn ang="0">
                      <a:pos x="73" y="25"/>
                    </a:cxn>
                    <a:cxn ang="0">
                      <a:pos x="65" y="27"/>
                    </a:cxn>
                    <a:cxn ang="0">
                      <a:pos x="53" y="18"/>
                    </a:cxn>
                    <a:cxn ang="0">
                      <a:pos x="42" y="25"/>
                    </a:cxn>
                    <a:cxn ang="0">
                      <a:pos x="26" y="39"/>
                    </a:cxn>
                    <a:cxn ang="0">
                      <a:pos x="24" y="70"/>
                    </a:cxn>
                    <a:cxn ang="0">
                      <a:pos x="37" y="90"/>
                    </a:cxn>
                    <a:cxn ang="0">
                      <a:pos x="42" y="97"/>
                    </a:cxn>
                    <a:cxn ang="0">
                      <a:pos x="41" y="111"/>
                    </a:cxn>
                    <a:cxn ang="0">
                      <a:pos x="47" y="125"/>
                    </a:cxn>
                    <a:cxn ang="0">
                      <a:pos x="41" y="129"/>
                    </a:cxn>
                    <a:cxn ang="0">
                      <a:pos x="17" y="128"/>
                    </a:cxn>
                    <a:cxn ang="0">
                      <a:pos x="17" y="139"/>
                    </a:cxn>
                    <a:cxn ang="0">
                      <a:pos x="31" y="145"/>
                    </a:cxn>
                    <a:cxn ang="0">
                      <a:pos x="28" y="152"/>
                    </a:cxn>
                    <a:cxn ang="0">
                      <a:pos x="22" y="177"/>
                    </a:cxn>
                    <a:cxn ang="0">
                      <a:pos x="8" y="192"/>
                    </a:cxn>
                    <a:cxn ang="0">
                      <a:pos x="17" y="202"/>
                    </a:cxn>
                    <a:cxn ang="0">
                      <a:pos x="0" y="233"/>
                    </a:cxn>
                    <a:cxn ang="0">
                      <a:pos x="8" y="236"/>
                    </a:cxn>
                    <a:cxn ang="0">
                      <a:pos x="22" y="245"/>
                    </a:cxn>
                    <a:cxn ang="0">
                      <a:pos x="38" y="256"/>
                    </a:cxn>
                    <a:cxn ang="0">
                      <a:pos x="52" y="267"/>
                    </a:cxn>
                    <a:cxn ang="0">
                      <a:pos x="65" y="280"/>
                    </a:cxn>
                    <a:cxn ang="0">
                      <a:pos x="66" y="300"/>
                    </a:cxn>
                    <a:cxn ang="0">
                      <a:pos x="57" y="311"/>
                    </a:cxn>
                    <a:cxn ang="0">
                      <a:pos x="57" y="350"/>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26" name="Freeform 51"/>
                <p:cNvSpPr>
                  <a:spLocks noChangeAspect="1"/>
                </p:cNvSpPr>
                <p:nvPr/>
              </p:nvSpPr>
              <p:spPr bwMode="gray">
                <a:xfrm>
                  <a:off x="4756943" y="3497609"/>
                  <a:ext cx="38100" cy="90488"/>
                </a:xfrm>
                <a:custGeom>
                  <a:avLst/>
                  <a:gdLst/>
                  <a:ahLst/>
                  <a:cxnLst>
                    <a:cxn ang="0">
                      <a:pos x="80" y="281"/>
                    </a:cxn>
                    <a:cxn ang="0">
                      <a:pos x="77" y="279"/>
                    </a:cxn>
                    <a:cxn ang="0">
                      <a:pos x="61" y="262"/>
                    </a:cxn>
                    <a:cxn ang="0">
                      <a:pos x="53" y="252"/>
                    </a:cxn>
                    <a:cxn ang="0">
                      <a:pos x="48" y="241"/>
                    </a:cxn>
                    <a:cxn ang="0">
                      <a:pos x="47" y="231"/>
                    </a:cxn>
                    <a:cxn ang="0">
                      <a:pos x="46" y="209"/>
                    </a:cxn>
                    <a:cxn ang="0">
                      <a:pos x="47" y="188"/>
                    </a:cxn>
                    <a:cxn ang="0">
                      <a:pos x="43" y="148"/>
                    </a:cxn>
                    <a:cxn ang="0">
                      <a:pos x="42" y="114"/>
                    </a:cxn>
                    <a:cxn ang="0">
                      <a:pos x="41" y="101"/>
                    </a:cxn>
                    <a:cxn ang="0">
                      <a:pos x="38" y="95"/>
                    </a:cxn>
                    <a:cxn ang="0">
                      <a:pos x="34" y="89"/>
                    </a:cxn>
                    <a:cxn ang="0">
                      <a:pos x="32" y="68"/>
                    </a:cxn>
                    <a:cxn ang="0">
                      <a:pos x="29" y="53"/>
                    </a:cxn>
                    <a:cxn ang="0">
                      <a:pos x="25" y="48"/>
                    </a:cxn>
                    <a:cxn ang="0">
                      <a:pos x="18" y="41"/>
                    </a:cxn>
                    <a:cxn ang="0">
                      <a:pos x="14" y="33"/>
                    </a:cxn>
                    <a:cxn ang="0">
                      <a:pos x="5" y="27"/>
                    </a:cxn>
                    <a:cxn ang="0">
                      <a:pos x="4" y="21"/>
                    </a:cxn>
                    <a:cxn ang="0">
                      <a:pos x="8" y="16"/>
                    </a:cxn>
                    <a:cxn ang="0">
                      <a:pos x="8" y="11"/>
                    </a:cxn>
                    <a:cxn ang="0">
                      <a:pos x="11" y="6"/>
                    </a:cxn>
                    <a:cxn ang="0">
                      <a:pos x="10" y="5"/>
                    </a:cxn>
                    <a:cxn ang="0">
                      <a:pos x="2" y="4"/>
                    </a:cxn>
                    <a:cxn ang="0">
                      <a:pos x="0" y="3"/>
                    </a:cxn>
                    <a:cxn ang="0">
                      <a:pos x="0" y="0"/>
                    </a:cxn>
                    <a:cxn ang="0">
                      <a:pos x="0" y="1"/>
                    </a:cxn>
                    <a:cxn ang="0">
                      <a:pos x="35" y="6"/>
                    </a:cxn>
                    <a:cxn ang="0">
                      <a:pos x="38" y="11"/>
                    </a:cxn>
                    <a:cxn ang="0">
                      <a:pos x="42" y="11"/>
                    </a:cxn>
                    <a:cxn ang="0">
                      <a:pos x="45" y="8"/>
                    </a:cxn>
                    <a:cxn ang="0">
                      <a:pos x="59" y="9"/>
                    </a:cxn>
                    <a:cxn ang="0">
                      <a:pos x="61" y="8"/>
                    </a:cxn>
                    <a:cxn ang="0">
                      <a:pos x="58" y="10"/>
                    </a:cxn>
                    <a:cxn ang="0">
                      <a:pos x="57" y="17"/>
                    </a:cxn>
                    <a:cxn ang="0">
                      <a:pos x="53" y="25"/>
                    </a:cxn>
                    <a:cxn ang="0">
                      <a:pos x="52" y="35"/>
                    </a:cxn>
                    <a:cxn ang="0">
                      <a:pos x="52" y="43"/>
                    </a:cxn>
                    <a:cxn ang="0">
                      <a:pos x="57" y="47"/>
                    </a:cxn>
                    <a:cxn ang="0">
                      <a:pos x="63" y="51"/>
                    </a:cxn>
                    <a:cxn ang="0">
                      <a:pos x="67" y="51"/>
                    </a:cxn>
                    <a:cxn ang="0">
                      <a:pos x="72" y="53"/>
                    </a:cxn>
                    <a:cxn ang="0">
                      <a:pos x="84" y="69"/>
                    </a:cxn>
                    <a:cxn ang="0">
                      <a:pos x="93" y="89"/>
                    </a:cxn>
                    <a:cxn ang="0">
                      <a:pos x="99" y="110"/>
                    </a:cxn>
                    <a:cxn ang="0">
                      <a:pos x="102" y="119"/>
                    </a:cxn>
                    <a:cxn ang="0">
                      <a:pos x="104" y="125"/>
                    </a:cxn>
                    <a:cxn ang="0">
                      <a:pos x="106" y="134"/>
                    </a:cxn>
                    <a:cxn ang="0">
                      <a:pos x="108" y="145"/>
                    </a:cxn>
                    <a:cxn ang="0">
                      <a:pos x="110" y="164"/>
                    </a:cxn>
                    <a:cxn ang="0">
                      <a:pos x="110" y="215"/>
                    </a:cxn>
                    <a:cxn ang="0">
                      <a:pos x="106" y="238"/>
                    </a:cxn>
                    <a:cxn ang="0">
                      <a:pos x="106" y="248"/>
                    </a:cxn>
                    <a:cxn ang="0">
                      <a:pos x="110" y="261"/>
                    </a:cxn>
                    <a:cxn ang="0">
                      <a:pos x="112" y="268"/>
                    </a:cxn>
                    <a:cxn ang="0">
                      <a:pos x="113" y="269"/>
                    </a:cxn>
                    <a:cxn ang="0">
                      <a:pos x="120" y="270"/>
                    </a:cxn>
                    <a:cxn ang="0">
                      <a:pos x="99" y="275"/>
                    </a:cxn>
                    <a:cxn ang="0">
                      <a:pos x="80" y="281"/>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27" name="Freeform 52"/>
                <p:cNvSpPr>
                  <a:spLocks noChangeAspect="1"/>
                </p:cNvSpPr>
                <p:nvPr/>
              </p:nvSpPr>
              <p:spPr bwMode="gray">
                <a:xfrm>
                  <a:off x="4972842" y="3600797"/>
                  <a:ext cx="331788" cy="323850"/>
                </a:xfrm>
                <a:custGeom>
                  <a:avLst/>
                  <a:gdLst/>
                  <a:ahLst/>
                  <a:cxnLst>
                    <a:cxn ang="0">
                      <a:pos x="960" y="671"/>
                    </a:cxn>
                    <a:cxn ang="0">
                      <a:pos x="939" y="609"/>
                    </a:cxn>
                    <a:cxn ang="0">
                      <a:pos x="933" y="528"/>
                    </a:cxn>
                    <a:cxn ang="0">
                      <a:pos x="933" y="488"/>
                    </a:cxn>
                    <a:cxn ang="0">
                      <a:pos x="927" y="435"/>
                    </a:cxn>
                    <a:cxn ang="0">
                      <a:pos x="934" y="392"/>
                    </a:cxn>
                    <a:cxn ang="0">
                      <a:pos x="960" y="337"/>
                    </a:cxn>
                    <a:cxn ang="0">
                      <a:pos x="979" y="248"/>
                    </a:cxn>
                    <a:cxn ang="0">
                      <a:pos x="1015" y="202"/>
                    </a:cxn>
                    <a:cxn ang="0">
                      <a:pos x="1043" y="167"/>
                    </a:cxn>
                    <a:cxn ang="0">
                      <a:pos x="1020" y="143"/>
                    </a:cxn>
                    <a:cxn ang="0">
                      <a:pos x="1019" y="90"/>
                    </a:cxn>
                    <a:cxn ang="0">
                      <a:pos x="955" y="36"/>
                    </a:cxn>
                    <a:cxn ang="0">
                      <a:pos x="892" y="52"/>
                    </a:cxn>
                    <a:cxn ang="0">
                      <a:pos x="839" y="5"/>
                    </a:cxn>
                    <a:cxn ang="0">
                      <a:pos x="771" y="0"/>
                    </a:cxn>
                    <a:cxn ang="0">
                      <a:pos x="697" y="16"/>
                    </a:cxn>
                    <a:cxn ang="0">
                      <a:pos x="676" y="10"/>
                    </a:cxn>
                    <a:cxn ang="0">
                      <a:pos x="601" y="27"/>
                    </a:cxn>
                    <a:cxn ang="0">
                      <a:pos x="509" y="53"/>
                    </a:cxn>
                    <a:cxn ang="0">
                      <a:pos x="436" y="25"/>
                    </a:cxn>
                    <a:cxn ang="0">
                      <a:pos x="384" y="16"/>
                    </a:cxn>
                    <a:cxn ang="0">
                      <a:pos x="359" y="75"/>
                    </a:cxn>
                    <a:cxn ang="0">
                      <a:pos x="326" y="159"/>
                    </a:cxn>
                    <a:cxn ang="0">
                      <a:pos x="298" y="327"/>
                    </a:cxn>
                    <a:cxn ang="0">
                      <a:pos x="217" y="423"/>
                    </a:cxn>
                    <a:cxn ang="0">
                      <a:pos x="181" y="516"/>
                    </a:cxn>
                    <a:cxn ang="0">
                      <a:pos x="112" y="531"/>
                    </a:cxn>
                    <a:cxn ang="0">
                      <a:pos x="68" y="551"/>
                    </a:cxn>
                    <a:cxn ang="0">
                      <a:pos x="18" y="560"/>
                    </a:cxn>
                    <a:cxn ang="0">
                      <a:pos x="3" y="612"/>
                    </a:cxn>
                    <a:cxn ang="0">
                      <a:pos x="9" y="624"/>
                    </a:cxn>
                    <a:cxn ang="0">
                      <a:pos x="70" y="606"/>
                    </a:cxn>
                    <a:cxn ang="0">
                      <a:pos x="155" y="606"/>
                    </a:cxn>
                    <a:cxn ang="0">
                      <a:pos x="225" y="613"/>
                    </a:cxn>
                    <a:cxn ang="0">
                      <a:pos x="244" y="654"/>
                    </a:cxn>
                    <a:cxn ang="0">
                      <a:pos x="289" y="727"/>
                    </a:cxn>
                    <a:cxn ang="0">
                      <a:pos x="366" y="725"/>
                    </a:cxn>
                    <a:cxn ang="0">
                      <a:pos x="393" y="694"/>
                    </a:cxn>
                    <a:cxn ang="0">
                      <a:pos x="444" y="664"/>
                    </a:cxn>
                    <a:cxn ang="0">
                      <a:pos x="520" y="699"/>
                    </a:cxn>
                    <a:cxn ang="0">
                      <a:pos x="527" y="781"/>
                    </a:cxn>
                    <a:cxn ang="0">
                      <a:pos x="541" y="850"/>
                    </a:cxn>
                    <a:cxn ang="0">
                      <a:pos x="531" y="894"/>
                    </a:cxn>
                    <a:cxn ang="0">
                      <a:pos x="549" y="908"/>
                    </a:cxn>
                    <a:cxn ang="0">
                      <a:pos x="613" y="891"/>
                    </a:cxn>
                    <a:cxn ang="0">
                      <a:pos x="645" y="882"/>
                    </a:cxn>
                    <a:cxn ang="0">
                      <a:pos x="667" y="903"/>
                    </a:cxn>
                    <a:cxn ang="0">
                      <a:pos x="697" y="901"/>
                    </a:cxn>
                    <a:cxn ang="0">
                      <a:pos x="736" y="925"/>
                    </a:cxn>
                    <a:cxn ang="0">
                      <a:pos x="799" y="934"/>
                    </a:cxn>
                    <a:cxn ang="0">
                      <a:pos x="858" y="961"/>
                    </a:cxn>
                    <a:cxn ang="0">
                      <a:pos x="898" y="999"/>
                    </a:cxn>
                    <a:cxn ang="0">
                      <a:pos x="941" y="1010"/>
                    </a:cxn>
                    <a:cxn ang="0">
                      <a:pos x="959" y="1018"/>
                    </a:cxn>
                    <a:cxn ang="0">
                      <a:pos x="956" y="958"/>
                    </a:cxn>
                    <a:cxn ang="0">
                      <a:pos x="911" y="955"/>
                    </a:cxn>
                    <a:cxn ang="0">
                      <a:pos x="895" y="917"/>
                    </a:cxn>
                    <a:cxn ang="0">
                      <a:pos x="912" y="820"/>
                    </a:cxn>
                    <a:cxn ang="0">
                      <a:pos x="914" y="772"/>
                    </a:cxn>
                    <a:cxn ang="0">
                      <a:pos x="941" y="748"/>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sp>
              <p:nvSpPr>
                <p:cNvPr id="928" name="Freeform 134"/>
                <p:cNvSpPr>
                  <a:spLocks noChangeAspect="1"/>
                </p:cNvSpPr>
                <p:nvPr/>
              </p:nvSpPr>
              <p:spPr bwMode="gray">
                <a:xfrm>
                  <a:off x="5488780" y="3469034"/>
                  <a:ext cx="25400" cy="33338"/>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US" kern="0" dirty="0">
                    <a:solidFill>
                      <a:sysClr val="windowText" lastClr="000000"/>
                    </a:solidFill>
                  </a:endParaRPr>
                </a:p>
              </p:txBody>
            </p:sp>
            <p:grpSp>
              <p:nvGrpSpPr>
                <p:cNvPr id="929" name="Group 364"/>
                <p:cNvGrpSpPr>
                  <a:grpSpLocks noChangeAspect="1"/>
                </p:cNvGrpSpPr>
                <p:nvPr/>
              </p:nvGrpSpPr>
              <p:grpSpPr bwMode="gray">
                <a:xfrm>
                  <a:off x="5141117" y="3280172"/>
                  <a:ext cx="289379" cy="349200"/>
                  <a:chOff x="3548063" y="12700"/>
                  <a:chExt cx="5667375" cy="6838950"/>
                </a:xfrm>
                <a:grpFill/>
              </p:grpSpPr>
              <p:sp>
                <p:nvSpPr>
                  <p:cNvPr id="930" name="Freeform 6"/>
                  <p:cNvSpPr>
                    <a:spLocks/>
                  </p:cNvSpPr>
                  <p:nvPr/>
                </p:nvSpPr>
                <p:spPr bwMode="gray">
                  <a:xfrm>
                    <a:off x="4084638" y="3873500"/>
                    <a:ext cx="4257675" cy="2978150"/>
                  </a:xfrm>
                  <a:custGeom>
                    <a:avLst/>
                    <a:gdLst/>
                    <a:ahLst/>
                    <a:cxnLst>
                      <a:cxn ang="0">
                        <a:pos x="48" y="773"/>
                      </a:cxn>
                      <a:cxn ang="0">
                        <a:pos x="161" y="852"/>
                      </a:cxn>
                      <a:cxn ang="0">
                        <a:pos x="327" y="893"/>
                      </a:cxn>
                      <a:cxn ang="0">
                        <a:pos x="367" y="981"/>
                      </a:cxn>
                      <a:cxn ang="0">
                        <a:pos x="535" y="1117"/>
                      </a:cxn>
                      <a:cxn ang="0">
                        <a:pos x="626" y="1220"/>
                      </a:cxn>
                      <a:cxn ang="0">
                        <a:pos x="678" y="1341"/>
                      </a:cxn>
                      <a:cxn ang="0">
                        <a:pos x="854" y="1468"/>
                      </a:cxn>
                      <a:cxn ang="0">
                        <a:pos x="909" y="1581"/>
                      </a:cxn>
                      <a:cxn ang="0">
                        <a:pos x="1000" y="1688"/>
                      </a:cxn>
                      <a:cxn ang="0">
                        <a:pos x="1141" y="1680"/>
                      </a:cxn>
                      <a:cxn ang="0">
                        <a:pos x="1339" y="1660"/>
                      </a:cxn>
                      <a:cxn ang="0">
                        <a:pos x="1531" y="1816"/>
                      </a:cxn>
                      <a:cxn ang="0">
                        <a:pos x="1614" y="1872"/>
                      </a:cxn>
                      <a:cxn ang="0">
                        <a:pos x="1741" y="1860"/>
                      </a:cxn>
                      <a:cxn ang="0">
                        <a:pos x="1850" y="1876"/>
                      </a:cxn>
                      <a:cxn ang="0">
                        <a:pos x="2024" y="1836"/>
                      </a:cxn>
                      <a:cxn ang="0">
                        <a:pos x="2268" y="1775"/>
                      </a:cxn>
                      <a:cxn ang="0">
                        <a:pos x="2420" y="1664"/>
                      </a:cxn>
                      <a:cxn ang="0">
                        <a:pos x="2674" y="1664"/>
                      </a:cxn>
                      <a:cxn ang="0">
                        <a:pos x="2678" y="1511"/>
                      </a:cxn>
                      <a:cxn ang="0">
                        <a:pos x="2523" y="1448"/>
                      </a:cxn>
                      <a:cxn ang="0">
                        <a:pos x="2444" y="1260"/>
                      </a:cxn>
                      <a:cxn ang="0">
                        <a:pos x="2311" y="1137"/>
                      </a:cxn>
                      <a:cxn ang="0">
                        <a:pos x="2248" y="1028"/>
                      </a:cxn>
                      <a:cxn ang="0">
                        <a:pos x="2137" y="1000"/>
                      </a:cxn>
                      <a:cxn ang="0">
                        <a:pos x="2060" y="957"/>
                      </a:cxn>
                      <a:cxn ang="0">
                        <a:pos x="2101" y="852"/>
                      </a:cxn>
                      <a:cxn ang="0">
                        <a:pos x="2272" y="824"/>
                      </a:cxn>
                      <a:cxn ang="0">
                        <a:pos x="2307" y="608"/>
                      </a:cxn>
                      <a:cxn ang="0">
                        <a:pos x="2284" y="481"/>
                      </a:cxn>
                      <a:cxn ang="0">
                        <a:pos x="2115" y="123"/>
                      </a:cxn>
                      <a:cxn ang="0">
                        <a:pos x="2020" y="60"/>
                      </a:cxn>
                      <a:cxn ang="0">
                        <a:pos x="1947" y="254"/>
                      </a:cxn>
                      <a:cxn ang="0">
                        <a:pos x="1713" y="551"/>
                      </a:cxn>
                      <a:cxn ang="0">
                        <a:pos x="1412" y="428"/>
                      </a:cxn>
                      <a:cxn ang="0">
                        <a:pos x="1222" y="561"/>
                      </a:cxn>
                      <a:cxn ang="0">
                        <a:pos x="965" y="586"/>
                      </a:cxn>
                      <a:cxn ang="0">
                        <a:pos x="632" y="598"/>
                      </a:cxn>
                      <a:cxn ang="0">
                        <a:pos x="521" y="408"/>
                      </a:cxn>
                      <a:cxn ang="0">
                        <a:pos x="299" y="555"/>
                      </a:cxn>
                      <a:cxn ang="0">
                        <a:pos x="18" y="583"/>
                      </a:cxn>
                    </a:cxnLst>
                    <a:rect l="0" t="0" r="r" b="b"/>
                    <a:pathLst>
                      <a:path w="2682" h="1876">
                        <a:moveTo>
                          <a:pt x="0" y="682"/>
                        </a:moveTo>
                        <a:lnTo>
                          <a:pt x="8" y="733"/>
                        </a:lnTo>
                        <a:lnTo>
                          <a:pt x="48" y="773"/>
                        </a:lnTo>
                        <a:lnTo>
                          <a:pt x="92" y="777"/>
                        </a:lnTo>
                        <a:lnTo>
                          <a:pt x="143" y="792"/>
                        </a:lnTo>
                        <a:lnTo>
                          <a:pt x="161" y="852"/>
                        </a:lnTo>
                        <a:lnTo>
                          <a:pt x="204" y="866"/>
                        </a:lnTo>
                        <a:lnTo>
                          <a:pt x="296" y="866"/>
                        </a:lnTo>
                        <a:lnTo>
                          <a:pt x="327" y="893"/>
                        </a:lnTo>
                        <a:lnTo>
                          <a:pt x="367" y="921"/>
                        </a:lnTo>
                        <a:lnTo>
                          <a:pt x="371" y="941"/>
                        </a:lnTo>
                        <a:lnTo>
                          <a:pt x="367" y="981"/>
                        </a:lnTo>
                        <a:lnTo>
                          <a:pt x="391" y="1024"/>
                        </a:lnTo>
                        <a:lnTo>
                          <a:pt x="466" y="1072"/>
                        </a:lnTo>
                        <a:lnTo>
                          <a:pt x="535" y="1117"/>
                        </a:lnTo>
                        <a:lnTo>
                          <a:pt x="563" y="1157"/>
                        </a:lnTo>
                        <a:lnTo>
                          <a:pt x="606" y="1181"/>
                        </a:lnTo>
                        <a:lnTo>
                          <a:pt x="626" y="1220"/>
                        </a:lnTo>
                        <a:lnTo>
                          <a:pt x="642" y="1264"/>
                        </a:lnTo>
                        <a:lnTo>
                          <a:pt x="670" y="1300"/>
                        </a:lnTo>
                        <a:lnTo>
                          <a:pt x="678" y="1341"/>
                        </a:lnTo>
                        <a:lnTo>
                          <a:pt x="713" y="1353"/>
                        </a:lnTo>
                        <a:lnTo>
                          <a:pt x="830" y="1432"/>
                        </a:lnTo>
                        <a:lnTo>
                          <a:pt x="854" y="1468"/>
                        </a:lnTo>
                        <a:lnTo>
                          <a:pt x="858" y="1511"/>
                        </a:lnTo>
                        <a:lnTo>
                          <a:pt x="882" y="1539"/>
                        </a:lnTo>
                        <a:lnTo>
                          <a:pt x="909" y="1581"/>
                        </a:lnTo>
                        <a:lnTo>
                          <a:pt x="957" y="1616"/>
                        </a:lnTo>
                        <a:lnTo>
                          <a:pt x="981" y="1648"/>
                        </a:lnTo>
                        <a:lnTo>
                          <a:pt x="1000" y="1688"/>
                        </a:lnTo>
                        <a:lnTo>
                          <a:pt x="1092" y="1723"/>
                        </a:lnTo>
                        <a:lnTo>
                          <a:pt x="1115" y="1712"/>
                        </a:lnTo>
                        <a:lnTo>
                          <a:pt x="1141" y="1680"/>
                        </a:lnTo>
                        <a:lnTo>
                          <a:pt x="1248" y="1704"/>
                        </a:lnTo>
                        <a:lnTo>
                          <a:pt x="1292" y="1700"/>
                        </a:lnTo>
                        <a:lnTo>
                          <a:pt x="1339" y="1660"/>
                        </a:lnTo>
                        <a:lnTo>
                          <a:pt x="1383" y="1684"/>
                        </a:lnTo>
                        <a:lnTo>
                          <a:pt x="1476" y="1787"/>
                        </a:lnTo>
                        <a:lnTo>
                          <a:pt x="1531" y="1816"/>
                        </a:lnTo>
                        <a:lnTo>
                          <a:pt x="1567" y="1852"/>
                        </a:lnTo>
                        <a:lnTo>
                          <a:pt x="1591" y="1872"/>
                        </a:lnTo>
                        <a:lnTo>
                          <a:pt x="1614" y="1872"/>
                        </a:lnTo>
                        <a:lnTo>
                          <a:pt x="1642" y="1852"/>
                        </a:lnTo>
                        <a:lnTo>
                          <a:pt x="1697" y="1848"/>
                        </a:lnTo>
                        <a:lnTo>
                          <a:pt x="1741" y="1860"/>
                        </a:lnTo>
                        <a:lnTo>
                          <a:pt x="1779" y="1852"/>
                        </a:lnTo>
                        <a:lnTo>
                          <a:pt x="1826" y="1848"/>
                        </a:lnTo>
                        <a:lnTo>
                          <a:pt x="1850" y="1876"/>
                        </a:lnTo>
                        <a:lnTo>
                          <a:pt x="1917" y="1860"/>
                        </a:lnTo>
                        <a:lnTo>
                          <a:pt x="1973" y="1856"/>
                        </a:lnTo>
                        <a:lnTo>
                          <a:pt x="2024" y="1836"/>
                        </a:lnTo>
                        <a:lnTo>
                          <a:pt x="2086" y="1844"/>
                        </a:lnTo>
                        <a:lnTo>
                          <a:pt x="2161" y="1844"/>
                        </a:lnTo>
                        <a:lnTo>
                          <a:pt x="2268" y="1775"/>
                        </a:lnTo>
                        <a:lnTo>
                          <a:pt x="2331" y="1700"/>
                        </a:lnTo>
                        <a:lnTo>
                          <a:pt x="2379" y="1668"/>
                        </a:lnTo>
                        <a:lnTo>
                          <a:pt x="2420" y="1664"/>
                        </a:lnTo>
                        <a:lnTo>
                          <a:pt x="2539" y="1676"/>
                        </a:lnTo>
                        <a:lnTo>
                          <a:pt x="2591" y="1676"/>
                        </a:lnTo>
                        <a:lnTo>
                          <a:pt x="2674" y="1664"/>
                        </a:lnTo>
                        <a:lnTo>
                          <a:pt x="2678" y="1577"/>
                        </a:lnTo>
                        <a:lnTo>
                          <a:pt x="2682" y="1539"/>
                        </a:lnTo>
                        <a:lnTo>
                          <a:pt x="2678" y="1511"/>
                        </a:lnTo>
                        <a:lnTo>
                          <a:pt x="2650" y="1492"/>
                        </a:lnTo>
                        <a:lnTo>
                          <a:pt x="2555" y="1472"/>
                        </a:lnTo>
                        <a:lnTo>
                          <a:pt x="2523" y="1448"/>
                        </a:lnTo>
                        <a:lnTo>
                          <a:pt x="2503" y="1412"/>
                        </a:lnTo>
                        <a:lnTo>
                          <a:pt x="2464" y="1307"/>
                        </a:lnTo>
                        <a:lnTo>
                          <a:pt x="2444" y="1260"/>
                        </a:lnTo>
                        <a:lnTo>
                          <a:pt x="2424" y="1220"/>
                        </a:lnTo>
                        <a:lnTo>
                          <a:pt x="2339" y="1169"/>
                        </a:lnTo>
                        <a:lnTo>
                          <a:pt x="2311" y="1137"/>
                        </a:lnTo>
                        <a:lnTo>
                          <a:pt x="2288" y="1105"/>
                        </a:lnTo>
                        <a:lnTo>
                          <a:pt x="2280" y="1068"/>
                        </a:lnTo>
                        <a:lnTo>
                          <a:pt x="2248" y="1028"/>
                        </a:lnTo>
                        <a:lnTo>
                          <a:pt x="2212" y="1008"/>
                        </a:lnTo>
                        <a:lnTo>
                          <a:pt x="2169" y="993"/>
                        </a:lnTo>
                        <a:lnTo>
                          <a:pt x="2137" y="1000"/>
                        </a:lnTo>
                        <a:lnTo>
                          <a:pt x="2105" y="973"/>
                        </a:lnTo>
                        <a:lnTo>
                          <a:pt x="2082" y="973"/>
                        </a:lnTo>
                        <a:lnTo>
                          <a:pt x="2060" y="957"/>
                        </a:lnTo>
                        <a:lnTo>
                          <a:pt x="2078" y="925"/>
                        </a:lnTo>
                        <a:lnTo>
                          <a:pt x="2101" y="905"/>
                        </a:lnTo>
                        <a:lnTo>
                          <a:pt x="2101" y="852"/>
                        </a:lnTo>
                        <a:lnTo>
                          <a:pt x="2141" y="836"/>
                        </a:lnTo>
                        <a:lnTo>
                          <a:pt x="2228" y="844"/>
                        </a:lnTo>
                        <a:lnTo>
                          <a:pt x="2272" y="824"/>
                        </a:lnTo>
                        <a:lnTo>
                          <a:pt x="2299" y="800"/>
                        </a:lnTo>
                        <a:lnTo>
                          <a:pt x="2307" y="741"/>
                        </a:lnTo>
                        <a:lnTo>
                          <a:pt x="2307" y="608"/>
                        </a:lnTo>
                        <a:lnTo>
                          <a:pt x="2295" y="608"/>
                        </a:lnTo>
                        <a:lnTo>
                          <a:pt x="2264" y="608"/>
                        </a:lnTo>
                        <a:lnTo>
                          <a:pt x="2284" y="481"/>
                        </a:lnTo>
                        <a:lnTo>
                          <a:pt x="2204" y="371"/>
                        </a:lnTo>
                        <a:lnTo>
                          <a:pt x="2131" y="329"/>
                        </a:lnTo>
                        <a:lnTo>
                          <a:pt x="2115" y="123"/>
                        </a:lnTo>
                        <a:lnTo>
                          <a:pt x="2137" y="16"/>
                        </a:lnTo>
                        <a:lnTo>
                          <a:pt x="2026" y="0"/>
                        </a:lnTo>
                        <a:lnTo>
                          <a:pt x="2020" y="60"/>
                        </a:lnTo>
                        <a:lnTo>
                          <a:pt x="1899" y="79"/>
                        </a:lnTo>
                        <a:lnTo>
                          <a:pt x="1947" y="139"/>
                        </a:lnTo>
                        <a:lnTo>
                          <a:pt x="1947" y="254"/>
                        </a:lnTo>
                        <a:lnTo>
                          <a:pt x="1957" y="285"/>
                        </a:lnTo>
                        <a:lnTo>
                          <a:pt x="1862" y="345"/>
                        </a:lnTo>
                        <a:lnTo>
                          <a:pt x="1713" y="551"/>
                        </a:lnTo>
                        <a:lnTo>
                          <a:pt x="1630" y="571"/>
                        </a:lnTo>
                        <a:lnTo>
                          <a:pt x="1567" y="513"/>
                        </a:lnTo>
                        <a:lnTo>
                          <a:pt x="1412" y="428"/>
                        </a:lnTo>
                        <a:lnTo>
                          <a:pt x="1329" y="466"/>
                        </a:lnTo>
                        <a:lnTo>
                          <a:pt x="1333" y="555"/>
                        </a:lnTo>
                        <a:lnTo>
                          <a:pt x="1222" y="561"/>
                        </a:lnTo>
                        <a:lnTo>
                          <a:pt x="1159" y="630"/>
                        </a:lnTo>
                        <a:lnTo>
                          <a:pt x="1006" y="630"/>
                        </a:lnTo>
                        <a:lnTo>
                          <a:pt x="965" y="586"/>
                        </a:lnTo>
                        <a:lnTo>
                          <a:pt x="795" y="583"/>
                        </a:lnTo>
                        <a:lnTo>
                          <a:pt x="715" y="624"/>
                        </a:lnTo>
                        <a:lnTo>
                          <a:pt x="632" y="598"/>
                        </a:lnTo>
                        <a:lnTo>
                          <a:pt x="610" y="519"/>
                        </a:lnTo>
                        <a:lnTo>
                          <a:pt x="547" y="472"/>
                        </a:lnTo>
                        <a:lnTo>
                          <a:pt x="521" y="408"/>
                        </a:lnTo>
                        <a:lnTo>
                          <a:pt x="357" y="444"/>
                        </a:lnTo>
                        <a:lnTo>
                          <a:pt x="367" y="497"/>
                        </a:lnTo>
                        <a:lnTo>
                          <a:pt x="299" y="555"/>
                        </a:lnTo>
                        <a:lnTo>
                          <a:pt x="204" y="535"/>
                        </a:lnTo>
                        <a:lnTo>
                          <a:pt x="125" y="577"/>
                        </a:lnTo>
                        <a:lnTo>
                          <a:pt x="18" y="583"/>
                        </a:lnTo>
                        <a:lnTo>
                          <a:pt x="8" y="620"/>
                        </a:lnTo>
                        <a:lnTo>
                          <a:pt x="0" y="682"/>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GB" kern="0" dirty="0">
                      <a:solidFill>
                        <a:sysClr val="windowText" lastClr="000000"/>
                      </a:solidFill>
                    </a:endParaRPr>
                  </a:p>
                </p:txBody>
              </p:sp>
              <p:sp>
                <p:nvSpPr>
                  <p:cNvPr id="931" name="Freeform 9"/>
                  <p:cNvSpPr>
                    <a:spLocks/>
                  </p:cNvSpPr>
                  <p:nvPr/>
                </p:nvSpPr>
                <p:spPr bwMode="gray">
                  <a:xfrm>
                    <a:off x="3548063" y="12700"/>
                    <a:ext cx="5667375" cy="4860925"/>
                  </a:xfrm>
                  <a:custGeom>
                    <a:avLst/>
                    <a:gdLst/>
                    <a:ahLst/>
                    <a:cxnLst>
                      <a:cxn ang="0">
                        <a:pos x="158" y="2581"/>
                      </a:cxn>
                      <a:cxn ang="0">
                        <a:pos x="200" y="2618"/>
                      </a:cxn>
                      <a:cxn ang="0">
                        <a:pos x="178" y="2702"/>
                      </a:cxn>
                      <a:cxn ang="0">
                        <a:pos x="346" y="2917"/>
                      </a:cxn>
                      <a:cxn ang="0">
                        <a:pos x="463" y="3009"/>
                      </a:cxn>
                      <a:cxn ang="0">
                        <a:pos x="705" y="2929"/>
                      </a:cxn>
                      <a:cxn ang="0">
                        <a:pos x="885" y="2904"/>
                      </a:cxn>
                      <a:cxn ang="0">
                        <a:pos x="1053" y="3056"/>
                      </a:cxn>
                      <a:cxn ang="0">
                        <a:pos x="1344" y="3062"/>
                      </a:cxn>
                      <a:cxn ang="0">
                        <a:pos x="1671" y="2987"/>
                      </a:cxn>
                      <a:cxn ang="0">
                        <a:pos x="1905" y="2945"/>
                      </a:cxn>
                      <a:cxn ang="0">
                        <a:pos x="2200" y="2777"/>
                      </a:cxn>
                      <a:cxn ang="0">
                        <a:pos x="2285" y="2571"/>
                      </a:cxn>
                      <a:cxn ang="0">
                        <a:pos x="2364" y="2432"/>
                      </a:cxn>
                      <a:cxn ang="0">
                        <a:pos x="2469" y="2761"/>
                      </a:cxn>
                      <a:cxn ang="0">
                        <a:pos x="2602" y="3040"/>
                      </a:cxn>
                      <a:cxn ang="0">
                        <a:pos x="2645" y="2997"/>
                      </a:cxn>
                      <a:cxn ang="0">
                        <a:pos x="2661" y="2866"/>
                      </a:cxn>
                      <a:cxn ang="0">
                        <a:pos x="2689" y="2805"/>
                      </a:cxn>
                      <a:cxn ang="0">
                        <a:pos x="2786" y="2737"/>
                      </a:cxn>
                      <a:cxn ang="0">
                        <a:pos x="2845" y="2557"/>
                      </a:cxn>
                      <a:cxn ang="0">
                        <a:pos x="3053" y="2317"/>
                      </a:cxn>
                      <a:cxn ang="0">
                        <a:pos x="3152" y="1998"/>
                      </a:cxn>
                      <a:cxn ang="0">
                        <a:pos x="3156" y="1790"/>
                      </a:cxn>
                      <a:cxn ang="0">
                        <a:pos x="3231" y="1519"/>
                      </a:cxn>
                      <a:cxn ang="0">
                        <a:pos x="3263" y="1371"/>
                      </a:cxn>
                      <a:cxn ang="0">
                        <a:pos x="3368" y="1319"/>
                      </a:cxn>
                      <a:cxn ang="0">
                        <a:pos x="3534" y="1244"/>
                      </a:cxn>
                      <a:cxn ang="0">
                        <a:pos x="3558" y="1115"/>
                      </a:cxn>
                      <a:cxn ang="0">
                        <a:pos x="3507" y="1107"/>
                      </a:cxn>
                      <a:cxn ang="0">
                        <a:pos x="3435" y="1032"/>
                      </a:cxn>
                      <a:cxn ang="0">
                        <a:pos x="3334" y="960"/>
                      </a:cxn>
                      <a:cxn ang="0">
                        <a:pos x="3295" y="616"/>
                      </a:cxn>
                      <a:cxn ang="0">
                        <a:pos x="3291" y="436"/>
                      </a:cxn>
                      <a:cxn ang="0">
                        <a:pos x="3224" y="255"/>
                      </a:cxn>
                      <a:cxn ang="0">
                        <a:pos x="3097" y="121"/>
                      </a:cxn>
                      <a:cxn ang="0">
                        <a:pos x="2948" y="0"/>
                      </a:cxn>
                      <a:cxn ang="0">
                        <a:pos x="2758" y="180"/>
                      </a:cxn>
                      <a:cxn ang="0">
                        <a:pos x="2507" y="313"/>
                      </a:cxn>
                      <a:cxn ang="0">
                        <a:pos x="2075" y="212"/>
                      </a:cxn>
                      <a:cxn ang="0">
                        <a:pos x="2043" y="208"/>
                      </a:cxn>
                      <a:cxn ang="0">
                        <a:pos x="1697" y="255"/>
                      </a:cxn>
                      <a:cxn ang="0">
                        <a:pos x="1083" y="255"/>
                      </a:cxn>
                      <a:cxn ang="0">
                        <a:pos x="669" y="463"/>
                      </a:cxn>
                      <a:cxn ang="0">
                        <a:pos x="465" y="824"/>
                      </a:cxn>
                      <a:cxn ang="0">
                        <a:pos x="465" y="1472"/>
                      </a:cxn>
                      <a:cxn ang="0">
                        <a:pos x="319" y="1668"/>
                      </a:cxn>
                      <a:cxn ang="0">
                        <a:pos x="232" y="1683"/>
                      </a:cxn>
                      <a:cxn ang="0">
                        <a:pos x="200" y="1806"/>
                      </a:cxn>
                      <a:cxn ang="0">
                        <a:pos x="91" y="1994"/>
                      </a:cxn>
                      <a:cxn ang="0">
                        <a:pos x="87" y="2050"/>
                      </a:cxn>
                      <a:cxn ang="0">
                        <a:pos x="36" y="2125"/>
                      </a:cxn>
                      <a:cxn ang="0">
                        <a:pos x="4" y="2258"/>
                      </a:cxn>
                      <a:cxn ang="0">
                        <a:pos x="12" y="2341"/>
                      </a:cxn>
                      <a:cxn ang="0">
                        <a:pos x="91" y="2383"/>
                      </a:cxn>
                    </a:cxnLst>
                    <a:rect l="0" t="0" r="r" b="b"/>
                    <a:pathLst>
                      <a:path w="3570" h="3062">
                        <a:moveTo>
                          <a:pt x="91" y="2383"/>
                        </a:moveTo>
                        <a:lnTo>
                          <a:pt x="111" y="2446"/>
                        </a:lnTo>
                        <a:lnTo>
                          <a:pt x="158" y="2581"/>
                        </a:lnTo>
                        <a:lnTo>
                          <a:pt x="162" y="2589"/>
                        </a:lnTo>
                        <a:lnTo>
                          <a:pt x="188" y="2599"/>
                        </a:lnTo>
                        <a:lnTo>
                          <a:pt x="200" y="2618"/>
                        </a:lnTo>
                        <a:lnTo>
                          <a:pt x="212" y="2654"/>
                        </a:lnTo>
                        <a:lnTo>
                          <a:pt x="212" y="2686"/>
                        </a:lnTo>
                        <a:lnTo>
                          <a:pt x="178" y="2702"/>
                        </a:lnTo>
                        <a:lnTo>
                          <a:pt x="216" y="2761"/>
                        </a:lnTo>
                        <a:lnTo>
                          <a:pt x="283" y="2834"/>
                        </a:lnTo>
                        <a:lnTo>
                          <a:pt x="346" y="2917"/>
                        </a:lnTo>
                        <a:lnTo>
                          <a:pt x="366" y="2981"/>
                        </a:lnTo>
                        <a:lnTo>
                          <a:pt x="356" y="3015"/>
                        </a:lnTo>
                        <a:lnTo>
                          <a:pt x="463" y="3009"/>
                        </a:lnTo>
                        <a:lnTo>
                          <a:pt x="542" y="2967"/>
                        </a:lnTo>
                        <a:lnTo>
                          <a:pt x="637" y="2987"/>
                        </a:lnTo>
                        <a:lnTo>
                          <a:pt x="705" y="2929"/>
                        </a:lnTo>
                        <a:lnTo>
                          <a:pt x="695" y="2876"/>
                        </a:lnTo>
                        <a:lnTo>
                          <a:pt x="859" y="2840"/>
                        </a:lnTo>
                        <a:lnTo>
                          <a:pt x="885" y="2904"/>
                        </a:lnTo>
                        <a:lnTo>
                          <a:pt x="948" y="2951"/>
                        </a:lnTo>
                        <a:lnTo>
                          <a:pt x="970" y="3030"/>
                        </a:lnTo>
                        <a:lnTo>
                          <a:pt x="1053" y="3056"/>
                        </a:lnTo>
                        <a:lnTo>
                          <a:pt x="1133" y="3015"/>
                        </a:lnTo>
                        <a:lnTo>
                          <a:pt x="1303" y="3018"/>
                        </a:lnTo>
                        <a:lnTo>
                          <a:pt x="1344" y="3062"/>
                        </a:lnTo>
                        <a:lnTo>
                          <a:pt x="1497" y="3062"/>
                        </a:lnTo>
                        <a:lnTo>
                          <a:pt x="1560" y="2993"/>
                        </a:lnTo>
                        <a:lnTo>
                          <a:pt x="1671" y="2987"/>
                        </a:lnTo>
                        <a:lnTo>
                          <a:pt x="1667" y="2898"/>
                        </a:lnTo>
                        <a:lnTo>
                          <a:pt x="1750" y="2860"/>
                        </a:lnTo>
                        <a:lnTo>
                          <a:pt x="1905" y="2945"/>
                        </a:lnTo>
                        <a:lnTo>
                          <a:pt x="1968" y="3003"/>
                        </a:lnTo>
                        <a:lnTo>
                          <a:pt x="2051" y="2983"/>
                        </a:lnTo>
                        <a:lnTo>
                          <a:pt x="2200" y="2777"/>
                        </a:lnTo>
                        <a:lnTo>
                          <a:pt x="2295" y="2717"/>
                        </a:lnTo>
                        <a:lnTo>
                          <a:pt x="2285" y="2686"/>
                        </a:lnTo>
                        <a:lnTo>
                          <a:pt x="2285" y="2571"/>
                        </a:lnTo>
                        <a:lnTo>
                          <a:pt x="2237" y="2511"/>
                        </a:lnTo>
                        <a:lnTo>
                          <a:pt x="2358" y="2492"/>
                        </a:lnTo>
                        <a:lnTo>
                          <a:pt x="2364" y="2432"/>
                        </a:lnTo>
                        <a:lnTo>
                          <a:pt x="2475" y="2448"/>
                        </a:lnTo>
                        <a:lnTo>
                          <a:pt x="2453" y="2555"/>
                        </a:lnTo>
                        <a:lnTo>
                          <a:pt x="2469" y="2761"/>
                        </a:lnTo>
                        <a:lnTo>
                          <a:pt x="2542" y="2803"/>
                        </a:lnTo>
                        <a:lnTo>
                          <a:pt x="2622" y="2913"/>
                        </a:lnTo>
                        <a:lnTo>
                          <a:pt x="2602" y="3040"/>
                        </a:lnTo>
                        <a:lnTo>
                          <a:pt x="2633" y="3040"/>
                        </a:lnTo>
                        <a:lnTo>
                          <a:pt x="2645" y="3040"/>
                        </a:lnTo>
                        <a:lnTo>
                          <a:pt x="2645" y="2997"/>
                        </a:lnTo>
                        <a:lnTo>
                          <a:pt x="2661" y="2933"/>
                        </a:lnTo>
                        <a:lnTo>
                          <a:pt x="2669" y="2890"/>
                        </a:lnTo>
                        <a:lnTo>
                          <a:pt x="2661" y="2866"/>
                        </a:lnTo>
                        <a:lnTo>
                          <a:pt x="2661" y="2822"/>
                        </a:lnTo>
                        <a:lnTo>
                          <a:pt x="2677" y="2830"/>
                        </a:lnTo>
                        <a:lnTo>
                          <a:pt x="2689" y="2805"/>
                        </a:lnTo>
                        <a:lnTo>
                          <a:pt x="2717" y="2757"/>
                        </a:lnTo>
                        <a:lnTo>
                          <a:pt x="2742" y="2737"/>
                        </a:lnTo>
                        <a:lnTo>
                          <a:pt x="2786" y="2737"/>
                        </a:lnTo>
                        <a:lnTo>
                          <a:pt x="2806" y="2717"/>
                        </a:lnTo>
                        <a:lnTo>
                          <a:pt x="2826" y="2610"/>
                        </a:lnTo>
                        <a:lnTo>
                          <a:pt x="2845" y="2557"/>
                        </a:lnTo>
                        <a:lnTo>
                          <a:pt x="2984" y="2363"/>
                        </a:lnTo>
                        <a:lnTo>
                          <a:pt x="3020" y="2325"/>
                        </a:lnTo>
                        <a:lnTo>
                          <a:pt x="3053" y="2317"/>
                        </a:lnTo>
                        <a:lnTo>
                          <a:pt x="3081" y="2286"/>
                        </a:lnTo>
                        <a:lnTo>
                          <a:pt x="3152" y="2062"/>
                        </a:lnTo>
                        <a:lnTo>
                          <a:pt x="3152" y="1998"/>
                        </a:lnTo>
                        <a:lnTo>
                          <a:pt x="3140" y="1935"/>
                        </a:lnTo>
                        <a:lnTo>
                          <a:pt x="3140" y="1858"/>
                        </a:lnTo>
                        <a:lnTo>
                          <a:pt x="3156" y="1790"/>
                        </a:lnTo>
                        <a:lnTo>
                          <a:pt x="3184" y="1735"/>
                        </a:lnTo>
                        <a:lnTo>
                          <a:pt x="3220" y="1602"/>
                        </a:lnTo>
                        <a:lnTo>
                          <a:pt x="3231" y="1519"/>
                        </a:lnTo>
                        <a:lnTo>
                          <a:pt x="3231" y="1487"/>
                        </a:lnTo>
                        <a:lnTo>
                          <a:pt x="3247" y="1406"/>
                        </a:lnTo>
                        <a:lnTo>
                          <a:pt x="3263" y="1371"/>
                        </a:lnTo>
                        <a:lnTo>
                          <a:pt x="3315" y="1367"/>
                        </a:lnTo>
                        <a:lnTo>
                          <a:pt x="3350" y="1347"/>
                        </a:lnTo>
                        <a:lnTo>
                          <a:pt x="3368" y="1319"/>
                        </a:lnTo>
                        <a:lnTo>
                          <a:pt x="3451" y="1279"/>
                        </a:lnTo>
                        <a:lnTo>
                          <a:pt x="3483" y="1268"/>
                        </a:lnTo>
                        <a:lnTo>
                          <a:pt x="3534" y="1244"/>
                        </a:lnTo>
                        <a:lnTo>
                          <a:pt x="3562" y="1186"/>
                        </a:lnTo>
                        <a:lnTo>
                          <a:pt x="3570" y="1151"/>
                        </a:lnTo>
                        <a:lnTo>
                          <a:pt x="3558" y="1115"/>
                        </a:lnTo>
                        <a:lnTo>
                          <a:pt x="3538" y="1115"/>
                        </a:lnTo>
                        <a:lnTo>
                          <a:pt x="3527" y="1099"/>
                        </a:lnTo>
                        <a:lnTo>
                          <a:pt x="3507" y="1107"/>
                        </a:lnTo>
                        <a:lnTo>
                          <a:pt x="3491" y="1060"/>
                        </a:lnTo>
                        <a:lnTo>
                          <a:pt x="3463" y="1036"/>
                        </a:lnTo>
                        <a:lnTo>
                          <a:pt x="3435" y="1032"/>
                        </a:lnTo>
                        <a:lnTo>
                          <a:pt x="3376" y="1008"/>
                        </a:lnTo>
                        <a:lnTo>
                          <a:pt x="3354" y="988"/>
                        </a:lnTo>
                        <a:lnTo>
                          <a:pt x="3334" y="960"/>
                        </a:lnTo>
                        <a:lnTo>
                          <a:pt x="3307" y="840"/>
                        </a:lnTo>
                        <a:lnTo>
                          <a:pt x="3295" y="749"/>
                        </a:lnTo>
                        <a:lnTo>
                          <a:pt x="3295" y="616"/>
                        </a:lnTo>
                        <a:lnTo>
                          <a:pt x="3291" y="459"/>
                        </a:lnTo>
                        <a:lnTo>
                          <a:pt x="3303" y="463"/>
                        </a:lnTo>
                        <a:lnTo>
                          <a:pt x="3291" y="436"/>
                        </a:lnTo>
                        <a:lnTo>
                          <a:pt x="3231" y="368"/>
                        </a:lnTo>
                        <a:lnTo>
                          <a:pt x="3228" y="317"/>
                        </a:lnTo>
                        <a:lnTo>
                          <a:pt x="3224" y="255"/>
                        </a:lnTo>
                        <a:lnTo>
                          <a:pt x="3180" y="192"/>
                        </a:lnTo>
                        <a:lnTo>
                          <a:pt x="3140" y="172"/>
                        </a:lnTo>
                        <a:lnTo>
                          <a:pt x="3097" y="121"/>
                        </a:lnTo>
                        <a:lnTo>
                          <a:pt x="3053" y="97"/>
                        </a:lnTo>
                        <a:lnTo>
                          <a:pt x="2996" y="73"/>
                        </a:lnTo>
                        <a:lnTo>
                          <a:pt x="2948" y="0"/>
                        </a:lnTo>
                        <a:lnTo>
                          <a:pt x="2861" y="77"/>
                        </a:lnTo>
                        <a:lnTo>
                          <a:pt x="2806" y="57"/>
                        </a:lnTo>
                        <a:lnTo>
                          <a:pt x="2758" y="180"/>
                        </a:lnTo>
                        <a:lnTo>
                          <a:pt x="2645" y="208"/>
                        </a:lnTo>
                        <a:lnTo>
                          <a:pt x="2614" y="305"/>
                        </a:lnTo>
                        <a:lnTo>
                          <a:pt x="2507" y="313"/>
                        </a:lnTo>
                        <a:lnTo>
                          <a:pt x="2435" y="261"/>
                        </a:lnTo>
                        <a:lnTo>
                          <a:pt x="2055" y="255"/>
                        </a:lnTo>
                        <a:lnTo>
                          <a:pt x="2075" y="212"/>
                        </a:lnTo>
                        <a:lnTo>
                          <a:pt x="2063" y="212"/>
                        </a:lnTo>
                        <a:lnTo>
                          <a:pt x="2055" y="208"/>
                        </a:lnTo>
                        <a:lnTo>
                          <a:pt x="2043" y="208"/>
                        </a:lnTo>
                        <a:lnTo>
                          <a:pt x="2016" y="255"/>
                        </a:lnTo>
                        <a:lnTo>
                          <a:pt x="1905" y="255"/>
                        </a:lnTo>
                        <a:lnTo>
                          <a:pt x="1697" y="255"/>
                        </a:lnTo>
                        <a:lnTo>
                          <a:pt x="1491" y="255"/>
                        </a:lnTo>
                        <a:lnTo>
                          <a:pt x="1283" y="255"/>
                        </a:lnTo>
                        <a:lnTo>
                          <a:pt x="1083" y="255"/>
                        </a:lnTo>
                        <a:lnTo>
                          <a:pt x="877" y="255"/>
                        </a:lnTo>
                        <a:lnTo>
                          <a:pt x="669" y="255"/>
                        </a:lnTo>
                        <a:lnTo>
                          <a:pt x="669" y="463"/>
                        </a:lnTo>
                        <a:lnTo>
                          <a:pt x="669" y="695"/>
                        </a:lnTo>
                        <a:lnTo>
                          <a:pt x="465" y="695"/>
                        </a:lnTo>
                        <a:lnTo>
                          <a:pt x="465" y="824"/>
                        </a:lnTo>
                        <a:lnTo>
                          <a:pt x="465" y="1044"/>
                        </a:lnTo>
                        <a:lnTo>
                          <a:pt x="465" y="1256"/>
                        </a:lnTo>
                        <a:lnTo>
                          <a:pt x="465" y="1472"/>
                        </a:lnTo>
                        <a:lnTo>
                          <a:pt x="457" y="1664"/>
                        </a:lnTo>
                        <a:lnTo>
                          <a:pt x="434" y="1668"/>
                        </a:lnTo>
                        <a:lnTo>
                          <a:pt x="319" y="1668"/>
                        </a:lnTo>
                        <a:lnTo>
                          <a:pt x="283" y="1672"/>
                        </a:lnTo>
                        <a:lnTo>
                          <a:pt x="236" y="1679"/>
                        </a:lnTo>
                        <a:lnTo>
                          <a:pt x="232" y="1683"/>
                        </a:lnTo>
                        <a:lnTo>
                          <a:pt x="220" y="1719"/>
                        </a:lnTo>
                        <a:lnTo>
                          <a:pt x="216" y="1763"/>
                        </a:lnTo>
                        <a:lnTo>
                          <a:pt x="200" y="1806"/>
                        </a:lnTo>
                        <a:lnTo>
                          <a:pt x="154" y="1874"/>
                        </a:lnTo>
                        <a:lnTo>
                          <a:pt x="91" y="1943"/>
                        </a:lnTo>
                        <a:lnTo>
                          <a:pt x="91" y="1994"/>
                        </a:lnTo>
                        <a:lnTo>
                          <a:pt x="95" y="2026"/>
                        </a:lnTo>
                        <a:lnTo>
                          <a:pt x="91" y="2046"/>
                        </a:lnTo>
                        <a:lnTo>
                          <a:pt x="87" y="2050"/>
                        </a:lnTo>
                        <a:lnTo>
                          <a:pt x="55" y="2070"/>
                        </a:lnTo>
                        <a:lnTo>
                          <a:pt x="43" y="2086"/>
                        </a:lnTo>
                        <a:lnTo>
                          <a:pt x="36" y="2125"/>
                        </a:lnTo>
                        <a:lnTo>
                          <a:pt x="36" y="2179"/>
                        </a:lnTo>
                        <a:lnTo>
                          <a:pt x="28" y="2214"/>
                        </a:lnTo>
                        <a:lnTo>
                          <a:pt x="4" y="2258"/>
                        </a:lnTo>
                        <a:lnTo>
                          <a:pt x="0" y="2278"/>
                        </a:lnTo>
                        <a:lnTo>
                          <a:pt x="0" y="2341"/>
                        </a:lnTo>
                        <a:lnTo>
                          <a:pt x="12" y="2341"/>
                        </a:lnTo>
                        <a:lnTo>
                          <a:pt x="32" y="2337"/>
                        </a:lnTo>
                        <a:lnTo>
                          <a:pt x="95" y="2321"/>
                        </a:lnTo>
                        <a:lnTo>
                          <a:pt x="91" y="2383"/>
                        </a:lnTo>
                        <a:close/>
                      </a:path>
                    </a:pathLst>
                  </a:custGeom>
                  <a:grpFill/>
                  <a:ln w="3175" cap="flat" cmpd="sng">
                    <a:solidFill>
                      <a:schemeClr val="bg1"/>
                    </a:solidFill>
                    <a:prstDash val="solid"/>
                    <a:round/>
                    <a:headEnd type="none" w="med" len="med"/>
                    <a:tailEnd type="none" w="med" len="med"/>
                  </a:ln>
                  <a:effectLst/>
                </p:spPr>
                <p:txBody>
                  <a:bodyPr/>
                  <a:lstStyle/>
                  <a:p>
                    <a:pPr defTabSz="914400">
                      <a:defRPr/>
                    </a:pPr>
                    <a:endParaRPr lang="en-GB" kern="0" dirty="0">
                      <a:solidFill>
                        <a:sysClr val="windowText" lastClr="000000"/>
                      </a:solidFill>
                    </a:endParaRPr>
                  </a:p>
                </p:txBody>
              </p:sp>
            </p:grpSp>
          </p:grpSp>
        </p:grpSp>
      </p:grpSp>
      <p:sp>
        <p:nvSpPr>
          <p:cNvPr id="429" name="Title 1"/>
          <p:cNvSpPr txBox="1">
            <a:spLocks/>
          </p:cNvSpPr>
          <p:nvPr/>
        </p:nvSpPr>
        <p:spPr>
          <a:xfrm>
            <a:off x="4730658" y="3470518"/>
            <a:ext cx="160202" cy="21111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endParaRPr lang="en-US" sz="800" b="1" dirty="0">
              <a:solidFill>
                <a:srgbClr val="FFFFFF"/>
              </a:solidFill>
              <a:latin typeface="Calibri"/>
            </a:endParaRPr>
          </a:p>
        </p:txBody>
      </p:sp>
      <p:grpSp>
        <p:nvGrpSpPr>
          <p:cNvPr id="21" name="Группа 20"/>
          <p:cNvGrpSpPr/>
          <p:nvPr/>
        </p:nvGrpSpPr>
        <p:grpSpPr>
          <a:xfrm>
            <a:off x="5842344" y="4324329"/>
            <a:ext cx="370491" cy="230012"/>
            <a:chOff x="5105328" y="5742983"/>
            <a:chExt cx="321289" cy="195251"/>
          </a:xfrm>
        </p:grpSpPr>
        <p:sp>
          <p:nvSpPr>
            <p:cNvPr id="608" name="Rectangle 3"/>
            <p:cNvSpPr/>
            <p:nvPr/>
          </p:nvSpPr>
          <p:spPr>
            <a:xfrm>
              <a:off x="5170886" y="5742983"/>
              <a:ext cx="195741" cy="195251"/>
            </a:xfrm>
            <a:prstGeom prst="ellipse">
              <a:avLst/>
            </a:prstGeom>
            <a:solidFill>
              <a:schemeClr val="bg2"/>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610" name="Title 1"/>
            <p:cNvSpPr txBox="1">
              <a:spLocks/>
            </p:cNvSpPr>
            <p:nvPr/>
          </p:nvSpPr>
          <p:spPr>
            <a:xfrm>
              <a:off x="5105328" y="5756604"/>
              <a:ext cx="321289"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en-US" sz="1000" b="1" dirty="0">
                  <a:solidFill>
                    <a:srgbClr val="FFFFFF"/>
                  </a:solidFill>
                  <a:latin typeface="Calibri"/>
                </a:rPr>
                <a:t>2</a:t>
              </a:r>
            </a:p>
          </p:txBody>
        </p:sp>
      </p:grpSp>
      <p:grpSp>
        <p:nvGrpSpPr>
          <p:cNvPr id="611" name="Группа 610"/>
          <p:cNvGrpSpPr/>
          <p:nvPr/>
        </p:nvGrpSpPr>
        <p:grpSpPr>
          <a:xfrm>
            <a:off x="6083876" y="4324329"/>
            <a:ext cx="370491" cy="230012"/>
            <a:chOff x="5105328" y="5742983"/>
            <a:chExt cx="321289" cy="195251"/>
          </a:xfrm>
        </p:grpSpPr>
        <p:sp>
          <p:nvSpPr>
            <p:cNvPr id="612" name="Rectangle 3"/>
            <p:cNvSpPr/>
            <p:nvPr/>
          </p:nvSpPr>
          <p:spPr>
            <a:xfrm>
              <a:off x="5170886" y="5742983"/>
              <a:ext cx="195741" cy="195251"/>
            </a:xfrm>
            <a:prstGeom prst="ellipse">
              <a:avLst/>
            </a:prstGeom>
            <a:solidFill>
              <a:srgbClr val="92D050"/>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613" name="Title 1"/>
            <p:cNvSpPr txBox="1">
              <a:spLocks/>
            </p:cNvSpPr>
            <p:nvPr/>
          </p:nvSpPr>
          <p:spPr>
            <a:xfrm>
              <a:off x="5105328" y="5756604"/>
              <a:ext cx="321289"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en-US" sz="1000" b="1" dirty="0">
                  <a:solidFill>
                    <a:srgbClr val="FFFFFF"/>
                  </a:solidFill>
                  <a:latin typeface="Calibri"/>
                </a:rPr>
                <a:t>4</a:t>
              </a:r>
            </a:p>
          </p:txBody>
        </p:sp>
      </p:grpSp>
      <p:cxnSp>
        <p:nvCxnSpPr>
          <p:cNvPr id="623" name="Прямая соединительная линия 622"/>
          <p:cNvCxnSpPr/>
          <p:nvPr/>
        </p:nvCxnSpPr>
        <p:spPr>
          <a:xfrm>
            <a:off x="6654821" y="4579515"/>
            <a:ext cx="880507" cy="0"/>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24" name="Прямая соединительная линия 623"/>
          <p:cNvCxnSpPr/>
          <p:nvPr/>
        </p:nvCxnSpPr>
        <p:spPr>
          <a:xfrm flipH="1" flipV="1">
            <a:off x="6463134" y="4260392"/>
            <a:ext cx="192821" cy="315974"/>
          </a:xfrm>
          <a:prstGeom prst="line">
            <a:avLst/>
          </a:prstGeom>
          <a:ln w="9525">
            <a:solidFill>
              <a:srgbClr val="0070C0"/>
            </a:solidFill>
            <a:tailEnd type="oval"/>
          </a:ln>
        </p:spPr>
        <p:style>
          <a:lnRef idx="1">
            <a:schemeClr val="accent1"/>
          </a:lnRef>
          <a:fillRef idx="0">
            <a:schemeClr val="accent1"/>
          </a:fillRef>
          <a:effectRef idx="0">
            <a:schemeClr val="accent1"/>
          </a:effectRef>
          <a:fontRef idx="minor">
            <a:schemeClr val="tx1"/>
          </a:fontRef>
        </p:style>
      </p:cxnSp>
      <p:grpSp>
        <p:nvGrpSpPr>
          <p:cNvPr id="625" name="Группа 624"/>
          <p:cNvGrpSpPr/>
          <p:nvPr/>
        </p:nvGrpSpPr>
        <p:grpSpPr>
          <a:xfrm>
            <a:off x="5244893" y="3881858"/>
            <a:ext cx="370491" cy="230012"/>
            <a:chOff x="5097708" y="5742983"/>
            <a:chExt cx="321289" cy="195251"/>
          </a:xfrm>
        </p:grpSpPr>
        <p:sp>
          <p:nvSpPr>
            <p:cNvPr id="626" name="Rectangle 3"/>
            <p:cNvSpPr/>
            <p:nvPr/>
          </p:nvSpPr>
          <p:spPr>
            <a:xfrm>
              <a:off x="5160253" y="5742983"/>
              <a:ext cx="195741" cy="195251"/>
            </a:xfrm>
            <a:prstGeom prst="ellipse">
              <a:avLst/>
            </a:prstGeom>
            <a:solidFill>
              <a:schemeClr val="bg2"/>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627" name="Title 1"/>
            <p:cNvSpPr txBox="1">
              <a:spLocks/>
            </p:cNvSpPr>
            <p:nvPr/>
          </p:nvSpPr>
          <p:spPr>
            <a:xfrm>
              <a:off x="5097708" y="5756604"/>
              <a:ext cx="321289"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en-US" sz="1000" b="1" dirty="0">
                  <a:solidFill>
                    <a:srgbClr val="FFFFFF"/>
                  </a:solidFill>
                  <a:latin typeface="Calibri"/>
                </a:rPr>
                <a:t>1</a:t>
              </a:r>
            </a:p>
          </p:txBody>
        </p:sp>
      </p:grpSp>
      <p:grpSp>
        <p:nvGrpSpPr>
          <p:cNvPr id="628" name="Группа 627"/>
          <p:cNvGrpSpPr/>
          <p:nvPr/>
        </p:nvGrpSpPr>
        <p:grpSpPr>
          <a:xfrm>
            <a:off x="5493998" y="3881858"/>
            <a:ext cx="370491" cy="230012"/>
            <a:chOff x="5108341" y="5742983"/>
            <a:chExt cx="321289" cy="195251"/>
          </a:xfrm>
        </p:grpSpPr>
        <p:sp>
          <p:nvSpPr>
            <p:cNvPr id="629" name="Rectangle 3"/>
            <p:cNvSpPr/>
            <p:nvPr/>
          </p:nvSpPr>
          <p:spPr>
            <a:xfrm>
              <a:off x="5170886" y="5742983"/>
              <a:ext cx="195741" cy="195251"/>
            </a:xfrm>
            <a:prstGeom prst="ellipse">
              <a:avLst/>
            </a:prstGeom>
            <a:solidFill>
              <a:srgbClr val="92D050"/>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630" name="Title 1"/>
            <p:cNvSpPr txBox="1">
              <a:spLocks/>
            </p:cNvSpPr>
            <p:nvPr/>
          </p:nvSpPr>
          <p:spPr>
            <a:xfrm>
              <a:off x="5108341" y="5756604"/>
              <a:ext cx="321289"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8</a:t>
              </a:r>
              <a:endParaRPr lang="en-US" sz="1000" b="1" dirty="0">
                <a:solidFill>
                  <a:srgbClr val="FFFFFF"/>
                </a:solidFill>
                <a:latin typeface="Calibri"/>
              </a:endParaRPr>
            </a:p>
          </p:txBody>
        </p:sp>
      </p:grpSp>
      <p:grpSp>
        <p:nvGrpSpPr>
          <p:cNvPr id="634" name="Группа 633"/>
          <p:cNvGrpSpPr/>
          <p:nvPr/>
        </p:nvGrpSpPr>
        <p:grpSpPr>
          <a:xfrm>
            <a:off x="6471764" y="3775052"/>
            <a:ext cx="370491" cy="230012"/>
            <a:chOff x="5108341" y="5742983"/>
            <a:chExt cx="321289" cy="195251"/>
          </a:xfrm>
        </p:grpSpPr>
        <p:sp>
          <p:nvSpPr>
            <p:cNvPr id="635" name="Rectangle 3"/>
            <p:cNvSpPr/>
            <p:nvPr/>
          </p:nvSpPr>
          <p:spPr>
            <a:xfrm>
              <a:off x="5170886" y="5742983"/>
              <a:ext cx="195741" cy="195251"/>
            </a:xfrm>
            <a:prstGeom prst="ellipse">
              <a:avLst/>
            </a:prstGeom>
            <a:solidFill>
              <a:schemeClr val="bg2"/>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636" name="Title 1"/>
            <p:cNvSpPr txBox="1">
              <a:spLocks/>
            </p:cNvSpPr>
            <p:nvPr/>
          </p:nvSpPr>
          <p:spPr>
            <a:xfrm>
              <a:off x="5108341" y="5748039"/>
              <a:ext cx="321289"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en-US" sz="1000" b="1" dirty="0">
                  <a:solidFill>
                    <a:srgbClr val="FFFFFF"/>
                  </a:solidFill>
                  <a:latin typeface="Calibri"/>
                </a:rPr>
                <a:t>4</a:t>
              </a:r>
            </a:p>
          </p:txBody>
        </p:sp>
      </p:grpSp>
      <p:grpSp>
        <p:nvGrpSpPr>
          <p:cNvPr id="641" name="Группа 640"/>
          <p:cNvGrpSpPr/>
          <p:nvPr/>
        </p:nvGrpSpPr>
        <p:grpSpPr>
          <a:xfrm>
            <a:off x="6721789" y="3775052"/>
            <a:ext cx="370491" cy="230012"/>
            <a:chOff x="5109138" y="5742983"/>
            <a:chExt cx="321289" cy="195251"/>
          </a:xfrm>
        </p:grpSpPr>
        <p:sp>
          <p:nvSpPr>
            <p:cNvPr id="642" name="Rectangle 3"/>
            <p:cNvSpPr/>
            <p:nvPr/>
          </p:nvSpPr>
          <p:spPr>
            <a:xfrm>
              <a:off x="5170886" y="5742983"/>
              <a:ext cx="195741" cy="195251"/>
            </a:xfrm>
            <a:prstGeom prst="ellipse">
              <a:avLst/>
            </a:prstGeom>
            <a:solidFill>
              <a:srgbClr val="92D050"/>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643" name="Title 1"/>
            <p:cNvSpPr txBox="1">
              <a:spLocks/>
            </p:cNvSpPr>
            <p:nvPr/>
          </p:nvSpPr>
          <p:spPr>
            <a:xfrm>
              <a:off x="5109138" y="5756604"/>
              <a:ext cx="321289"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en-US" sz="1000" b="1" dirty="0">
                  <a:solidFill>
                    <a:srgbClr val="FFFFFF"/>
                  </a:solidFill>
                  <a:latin typeface="Calibri"/>
                </a:rPr>
                <a:t>4</a:t>
              </a:r>
            </a:p>
          </p:txBody>
        </p:sp>
      </p:grpSp>
      <p:cxnSp>
        <p:nvCxnSpPr>
          <p:cNvPr id="660" name="Прямая соединительная линия 659"/>
          <p:cNvCxnSpPr/>
          <p:nvPr/>
        </p:nvCxnSpPr>
        <p:spPr>
          <a:xfrm>
            <a:off x="4226775" y="2647615"/>
            <a:ext cx="516258" cy="0"/>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61" name="Прямая соединительная линия 660"/>
          <p:cNvCxnSpPr/>
          <p:nvPr/>
        </p:nvCxnSpPr>
        <p:spPr>
          <a:xfrm>
            <a:off x="4731607" y="2651136"/>
            <a:ext cx="132128" cy="373757"/>
          </a:xfrm>
          <a:prstGeom prst="line">
            <a:avLst/>
          </a:prstGeom>
          <a:ln w="9525">
            <a:solidFill>
              <a:srgbClr val="0070C0"/>
            </a:solidFill>
            <a:tailEnd type="oval"/>
          </a:ln>
        </p:spPr>
        <p:style>
          <a:lnRef idx="1">
            <a:schemeClr val="accent1"/>
          </a:lnRef>
          <a:fillRef idx="0">
            <a:schemeClr val="accent1"/>
          </a:fillRef>
          <a:effectRef idx="0">
            <a:schemeClr val="accent1"/>
          </a:effectRef>
          <a:fontRef idx="minor">
            <a:schemeClr val="tx1"/>
          </a:fontRef>
        </p:style>
      </p:cxnSp>
      <p:cxnSp>
        <p:nvCxnSpPr>
          <p:cNvPr id="662" name="Прямая соединительная линия 661"/>
          <p:cNvCxnSpPr/>
          <p:nvPr/>
        </p:nvCxnSpPr>
        <p:spPr>
          <a:xfrm>
            <a:off x="5436096" y="3276019"/>
            <a:ext cx="747234" cy="0"/>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63" name="Прямая соединительная линия 662"/>
          <p:cNvCxnSpPr/>
          <p:nvPr/>
        </p:nvCxnSpPr>
        <p:spPr>
          <a:xfrm flipH="1">
            <a:off x="5299726" y="3275228"/>
            <a:ext cx="144430" cy="353716"/>
          </a:xfrm>
          <a:prstGeom prst="line">
            <a:avLst/>
          </a:prstGeom>
          <a:ln w="9525">
            <a:solidFill>
              <a:srgbClr val="0070C0"/>
            </a:solidFill>
            <a:tailEnd type="oval"/>
          </a:ln>
        </p:spPr>
        <p:style>
          <a:lnRef idx="1">
            <a:schemeClr val="accent1"/>
          </a:lnRef>
          <a:fillRef idx="0">
            <a:schemeClr val="accent1"/>
          </a:fillRef>
          <a:effectRef idx="0">
            <a:schemeClr val="accent1"/>
          </a:effectRef>
          <a:fontRef idx="minor">
            <a:schemeClr val="tx1"/>
          </a:fontRef>
        </p:style>
      </p:cxnSp>
      <p:cxnSp>
        <p:nvCxnSpPr>
          <p:cNvPr id="669" name="Прямая соединительная линия 668"/>
          <p:cNvCxnSpPr/>
          <p:nvPr/>
        </p:nvCxnSpPr>
        <p:spPr>
          <a:xfrm>
            <a:off x="4147613" y="4072484"/>
            <a:ext cx="567621" cy="0"/>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71" name="Прямая соединительная линия 670"/>
          <p:cNvCxnSpPr/>
          <p:nvPr/>
        </p:nvCxnSpPr>
        <p:spPr>
          <a:xfrm flipV="1">
            <a:off x="4712080" y="3585417"/>
            <a:ext cx="95000" cy="485537"/>
          </a:xfrm>
          <a:prstGeom prst="line">
            <a:avLst/>
          </a:prstGeom>
          <a:ln w="9525">
            <a:solidFill>
              <a:srgbClr val="0070C0"/>
            </a:solidFill>
            <a:tailEnd type="oval"/>
          </a:ln>
        </p:spPr>
        <p:style>
          <a:lnRef idx="1">
            <a:schemeClr val="accent1"/>
          </a:lnRef>
          <a:fillRef idx="0">
            <a:schemeClr val="accent1"/>
          </a:fillRef>
          <a:effectRef idx="0">
            <a:schemeClr val="accent1"/>
          </a:effectRef>
          <a:fontRef idx="minor">
            <a:schemeClr val="tx1"/>
          </a:fontRef>
        </p:style>
      </p:cxnSp>
      <p:cxnSp>
        <p:nvCxnSpPr>
          <p:cNvPr id="693" name="Прямая соединительная линия 692"/>
          <p:cNvCxnSpPr/>
          <p:nvPr/>
        </p:nvCxnSpPr>
        <p:spPr>
          <a:xfrm>
            <a:off x="3085744" y="4133467"/>
            <a:ext cx="457531" cy="1036"/>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95" name="Прямая соединительная линия 694"/>
          <p:cNvCxnSpPr>
            <a:endCxn id="972" idx="36"/>
          </p:cNvCxnSpPr>
          <p:nvPr/>
        </p:nvCxnSpPr>
        <p:spPr>
          <a:xfrm flipV="1">
            <a:off x="3544517" y="3389640"/>
            <a:ext cx="1079455" cy="746470"/>
          </a:xfrm>
          <a:prstGeom prst="line">
            <a:avLst/>
          </a:prstGeom>
          <a:ln w="9525">
            <a:solidFill>
              <a:srgbClr val="0070C0"/>
            </a:solidFill>
            <a:tailEnd type="oval"/>
          </a:ln>
        </p:spPr>
        <p:style>
          <a:lnRef idx="1">
            <a:schemeClr val="accent1"/>
          </a:lnRef>
          <a:fillRef idx="0">
            <a:schemeClr val="accent1"/>
          </a:fillRef>
          <a:effectRef idx="0">
            <a:schemeClr val="accent1"/>
          </a:effectRef>
          <a:fontRef idx="minor">
            <a:schemeClr val="tx1"/>
          </a:fontRef>
        </p:style>
      </p:cxnSp>
      <p:cxnSp>
        <p:nvCxnSpPr>
          <p:cNvPr id="697" name="Прямая соединительная линия 696"/>
          <p:cNvCxnSpPr/>
          <p:nvPr/>
        </p:nvCxnSpPr>
        <p:spPr>
          <a:xfrm>
            <a:off x="3528565" y="3509335"/>
            <a:ext cx="786911" cy="1010"/>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99" name="Прямая соединительная линия 698"/>
          <p:cNvCxnSpPr>
            <a:endCxn id="965" idx="52"/>
          </p:cNvCxnSpPr>
          <p:nvPr/>
        </p:nvCxnSpPr>
        <p:spPr>
          <a:xfrm flipV="1">
            <a:off x="4307790" y="3289129"/>
            <a:ext cx="354415" cy="220299"/>
          </a:xfrm>
          <a:prstGeom prst="line">
            <a:avLst/>
          </a:prstGeom>
          <a:ln w="9525">
            <a:solidFill>
              <a:srgbClr val="0070C0"/>
            </a:solidFill>
            <a:tailEnd type="oval"/>
          </a:ln>
        </p:spPr>
        <p:style>
          <a:lnRef idx="1">
            <a:schemeClr val="accent1"/>
          </a:lnRef>
          <a:fillRef idx="0">
            <a:schemeClr val="accent1"/>
          </a:fillRef>
          <a:effectRef idx="0">
            <a:schemeClr val="accent1"/>
          </a:effectRef>
          <a:fontRef idx="minor">
            <a:schemeClr val="tx1"/>
          </a:fontRef>
        </p:style>
      </p:cxnSp>
      <p:grpSp>
        <p:nvGrpSpPr>
          <p:cNvPr id="712" name="Группа 711"/>
          <p:cNvGrpSpPr/>
          <p:nvPr/>
        </p:nvGrpSpPr>
        <p:grpSpPr>
          <a:xfrm>
            <a:off x="2873082" y="3131146"/>
            <a:ext cx="370491" cy="230012"/>
            <a:chOff x="5105328" y="5742983"/>
            <a:chExt cx="321289" cy="195251"/>
          </a:xfrm>
        </p:grpSpPr>
        <p:sp>
          <p:nvSpPr>
            <p:cNvPr id="713" name="Rectangle 3"/>
            <p:cNvSpPr/>
            <p:nvPr/>
          </p:nvSpPr>
          <p:spPr>
            <a:xfrm>
              <a:off x="5170886" y="5742983"/>
              <a:ext cx="195741" cy="195251"/>
            </a:xfrm>
            <a:prstGeom prst="ellipse">
              <a:avLst/>
            </a:prstGeom>
            <a:solidFill>
              <a:schemeClr val="bg2"/>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714" name="Title 1"/>
            <p:cNvSpPr txBox="1">
              <a:spLocks/>
            </p:cNvSpPr>
            <p:nvPr/>
          </p:nvSpPr>
          <p:spPr>
            <a:xfrm>
              <a:off x="5105328" y="5756604"/>
              <a:ext cx="321289"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6</a:t>
              </a:r>
              <a:endParaRPr lang="en-US" sz="1000" b="1" dirty="0">
                <a:solidFill>
                  <a:srgbClr val="FFFFFF"/>
                </a:solidFill>
                <a:latin typeface="Calibri"/>
              </a:endParaRPr>
            </a:p>
          </p:txBody>
        </p:sp>
      </p:grpSp>
      <p:cxnSp>
        <p:nvCxnSpPr>
          <p:cNvPr id="715" name="Прямая соединительная линия 714"/>
          <p:cNvCxnSpPr/>
          <p:nvPr/>
        </p:nvCxnSpPr>
        <p:spPr>
          <a:xfrm flipV="1">
            <a:off x="2765655" y="3096347"/>
            <a:ext cx="643617" cy="4657"/>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17" name="Прямая соединительная линия 716"/>
          <p:cNvCxnSpPr/>
          <p:nvPr/>
        </p:nvCxnSpPr>
        <p:spPr>
          <a:xfrm>
            <a:off x="3409272" y="3096347"/>
            <a:ext cx="1134823" cy="125157"/>
          </a:xfrm>
          <a:prstGeom prst="line">
            <a:avLst/>
          </a:prstGeom>
          <a:ln w="9525">
            <a:solidFill>
              <a:srgbClr val="0070C0"/>
            </a:solidFill>
            <a:tailEnd type="oval"/>
          </a:ln>
        </p:spPr>
        <p:style>
          <a:lnRef idx="1">
            <a:schemeClr val="accent1"/>
          </a:lnRef>
          <a:fillRef idx="0">
            <a:schemeClr val="accent1"/>
          </a:fillRef>
          <a:effectRef idx="0">
            <a:schemeClr val="accent1"/>
          </a:effectRef>
          <a:fontRef idx="minor">
            <a:schemeClr val="tx1"/>
          </a:fontRef>
        </p:style>
      </p:cxnSp>
      <p:cxnSp>
        <p:nvCxnSpPr>
          <p:cNvPr id="723" name="Прямая соединительная линия 722"/>
          <p:cNvCxnSpPr/>
          <p:nvPr/>
        </p:nvCxnSpPr>
        <p:spPr>
          <a:xfrm flipV="1">
            <a:off x="3376596" y="2515581"/>
            <a:ext cx="643617" cy="4657"/>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25" name="Прямая соединительная линия 724"/>
          <p:cNvCxnSpPr/>
          <p:nvPr/>
        </p:nvCxnSpPr>
        <p:spPr>
          <a:xfrm>
            <a:off x="4014961" y="2517440"/>
            <a:ext cx="366435" cy="595009"/>
          </a:xfrm>
          <a:prstGeom prst="line">
            <a:avLst/>
          </a:prstGeom>
          <a:ln w="9525">
            <a:solidFill>
              <a:srgbClr val="0070C0"/>
            </a:solidFill>
            <a:tailEnd type="oval"/>
          </a:ln>
        </p:spPr>
        <p:style>
          <a:lnRef idx="1">
            <a:schemeClr val="accent1"/>
          </a:lnRef>
          <a:fillRef idx="0">
            <a:schemeClr val="accent1"/>
          </a:fillRef>
          <a:effectRef idx="0">
            <a:schemeClr val="accent1"/>
          </a:effectRef>
          <a:fontRef idx="minor">
            <a:schemeClr val="tx1"/>
          </a:fontRef>
        </p:style>
      </p:cxnSp>
      <p:grpSp>
        <p:nvGrpSpPr>
          <p:cNvPr id="15" name="Группа 14"/>
          <p:cNvGrpSpPr/>
          <p:nvPr/>
        </p:nvGrpSpPr>
        <p:grpSpPr>
          <a:xfrm>
            <a:off x="6726065" y="2402121"/>
            <a:ext cx="225717" cy="230012"/>
            <a:chOff x="5935509" y="2198380"/>
            <a:chExt cx="195741" cy="195251"/>
          </a:xfrm>
        </p:grpSpPr>
        <p:sp>
          <p:nvSpPr>
            <p:cNvPr id="740" name="Rectangle 3"/>
            <p:cNvSpPr/>
            <p:nvPr/>
          </p:nvSpPr>
          <p:spPr>
            <a:xfrm>
              <a:off x="5935509" y="2198380"/>
              <a:ext cx="195741" cy="195251"/>
            </a:xfrm>
            <a:prstGeom prst="ellipse">
              <a:avLst/>
            </a:prstGeom>
            <a:solidFill>
              <a:srgbClr val="92D050"/>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741" name="Title 1"/>
            <p:cNvSpPr txBox="1">
              <a:spLocks/>
            </p:cNvSpPr>
            <p:nvPr/>
          </p:nvSpPr>
          <p:spPr>
            <a:xfrm>
              <a:off x="5961273" y="2208191"/>
              <a:ext cx="141945"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6</a:t>
              </a:r>
              <a:endParaRPr lang="en-US" sz="1000" b="1" dirty="0">
                <a:solidFill>
                  <a:srgbClr val="FFFFFF"/>
                </a:solidFill>
                <a:latin typeface="Calibri"/>
              </a:endParaRPr>
            </a:p>
          </p:txBody>
        </p:sp>
      </p:grpSp>
      <p:sp>
        <p:nvSpPr>
          <p:cNvPr id="730" name="Title 1"/>
          <p:cNvSpPr txBox="1">
            <a:spLocks/>
          </p:cNvSpPr>
          <p:nvPr/>
        </p:nvSpPr>
        <p:spPr>
          <a:xfrm>
            <a:off x="5230136" y="2382010"/>
            <a:ext cx="302428" cy="201858"/>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endParaRPr lang="en-US" sz="1000" b="1" dirty="0">
              <a:solidFill>
                <a:srgbClr val="808080"/>
              </a:solidFill>
              <a:latin typeface="Calibri"/>
            </a:endParaRPr>
          </a:p>
        </p:txBody>
      </p:sp>
      <p:grpSp>
        <p:nvGrpSpPr>
          <p:cNvPr id="13" name="Группа 12"/>
          <p:cNvGrpSpPr/>
          <p:nvPr/>
        </p:nvGrpSpPr>
        <p:grpSpPr>
          <a:xfrm>
            <a:off x="6391601" y="2394508"/>
            <a:ext cx="386641" cy="230012"/>
            <a:chOff x="5614522" y="2191983"/>
            <a:chExt cx="335294" cy="195251"/>
          </a:xfrm>
        </p:grpSpPr>
        <p:sp>
          <p:nvSpPr>
            <p:cNvPr id="737" name="Rectangle 3"/>
            <p:cNvSpPr/>
            <p:nvPr/>
          </p:nvSpPr>
          <p:spPr>
            <a:xfrm>
              <a:off x="5688496" y="2191983"/>
              <a:ext cx="195741" cy="195251"/>
            </a:xfrm>
            <a:prstGeom prst="ellipse">
              <a:avLst/>
            </a:prstGeom>
            <a:solidFill>
              <a:schemeClr val="bg2"/>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738" name="Title 1"/>
            <p:cNvSpPr txBox="1">
              <a:spLocks/>
            </p:cNvSpPr>
            <p:nvPr/>
          </p:nvSpPr>
          <p:spPr>
            <a:xfrm>
              <a:off x="5614522" y="2197039"/>
              <a:ext cx="335294"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2</a:t>
              </a:r>
              <a:r>
                <a:rPr lang="en-US" sz="1000" b="1" dirty="0">
                  <a:solidFill>
                    <a:srgbClr val="FFFFFF"/>
                  </a:solidFill>
                  <a:latin typeface="Calibri"/>
                </a:rPr>
                <a:t>1</a:t>
              </a:r>
            </a:p>
          </p:txBody>
        </p:sp>
      </p:grpSp>
      <p:grpSp>
        <p:nvGrpSpPr>
          <p:cNvPr id="2" name="Группа 1"/>
          <p:cNvGrpSpPr/>
          <p:nvPr/>
        </p:nvGrpSpPr>
        <p:grpSpPr>
          <a:xfrm>
            <a:off x="6227714" y="2392565"/>
            <a:ext cx="225717" cy="230012"/>
            <a:chOff x="5472944" y="2190334"/>
            <a:chExt cx="195741" cy="195251"/>
          </a:xfrm>
        </p:grpSpPr>
        <p:sp>
          <p:nvSpPr>
            <p:cNvPr id="575" name="Rectangle 3"/>
            <p:cNvSpPr/>
            <p:nvPr/>
          </p:nvSpPr>
          <p:spPr>
            <a:xfrm>
              <a:off x="5472944" y="2190334"/>
              <a:ext cx="195741" cy="195251"/>
            </a:xfrm>
            <a:prstGeom prst="ellipse">
              <a:avLst/>
            </a:prstGeom>
            <a:solidFill>
              <a:schemeClr val="accent4"/>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577" name="Title 1"/>
            <p:cNvSpPr txBox="1">
              <a:spLocks/>
            </p:cNvSpPr>
            <p:nvPr/>
          </p:nvSpPr>
          <p:spPr>
            <a:xfrm>
              <a:off x="5501457" y="2195390"/>
              <a:ext cx="144016" cy="17135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3</a:t>
              </a:r>
              <a:endParaRPr lang="en-US" sz="1000" b="1" dirty="0">
                <a:solidFill>
                  <a:srgbClr val="FFFFFF"/>
                </a:solidFill>
                <a:latin typeface="Calibri"/>
              </a:endParaRPr>
            </a:p>
          </p:txBody>
        </p:sp>
      </p:grpSp>
      <p:grpSp>
        <p:nvGrpSpPr>
          <p:cNvPr id="581" name="Группа 580"/>
          <p:cNvGrpSpPr/>
          <p:nvPr/>
        </p:nvGrpSpPr>
        <p:grpSpPr>
          <a:xfrm>
            <a:off x="4396774" y="2701866"/>
            <a:ext cx="225717" cy="230012"/>
            <a:chOff x="5935509" y="2198380"/>
            <a:chExt cx="195741" cy="195251"/>
          </a:xfrm>
        </p:grpSpPr>
        <p:sp>
          <p:nvSpPr>
            <p:cNvPr id="592" name="Rectangle 3"/>
            <p:cNvSpPr/>
            <p:nvPr/>
          </p:nvSpPr>
          <p:spPr>
            <a:xfrm>
              <a:off x="5935509" y="2198380"/>
              <a:ext cx="195741" cy="195251"/>
            </a:xfrm>
            <a:prstGeom prst="ellipse">
              <a:avLst/>
            </a:prstGeom>
            <a:solidFill>
              <a:srgbClr val="92D050"/>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594" name="Title 1"/>
            <p:cNvSpPr txBox="1">
              <a:spLocks/>
            </p:cNvSpPr>
            <p:nvPr/>
          </p:nvSpPr>
          <p:spPr>
            <a:xfrm>
              <a:off x="5961273" y="2208191"/>
              <a:ext cx="141945"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2</a:t>
              </a:r>
              <a:endParaRPr lang="en-US" sz="1000" b="1" dirty="0">
                <a:solidFill>
                  <a:srgbClr val="FFFFFF"/>
                </a:solidFill>
                <a:latin typeface="Calibri"/>
              </a:endParaRPr>
            </a:p>
          </p:txBody>
        </p:sp>
      </p:grpSp>
      <p:grpSp>
        <p:nvGrpSpPr>
          <p:cNvPr id="595" name="Группа 594"/>
          <p:cNvGrpSpPr/>
          <p:nvPr/>
        </p:nvGrpSpPr>
        <p:grpSpPr>
          <a:xfrm>
            <a:off x="4535438" y="2258773"/>
            <a:ext cx="386641" cy="230012"/>
            <a:chOff x="5614522" y="2191983"/>
            <a:chExt cx="335294" cy="195251"/>
          </a:xfrm>
        </p:grpSpPr>
        <p:sp>
          <p:nvSpPr>
            <p:cNvPr id="609" name="Rectangle 3"/>
            <p:cNvSpPr/>
            <p:nvPr/>
          </p:nvSpPr>
          <p:spPr>
            <a:xfrm>
              <a:off x="5688496" y="2191983"/>
              <a:ext cx="195741" cy="195251"/>
            </a:xfrm>
            <a:prstGeom prst="ellipse">
              <a:avLst/>
            </a:prstGeom>
            <a:solidFill>
              <a:schemeClr val="bg2"/>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617" name="Title 1"/>
            <p:cNvSpPr txBox="1">
              <a:spLocks/>
            </p:cNvSpPr>
            <p:nvPr/>
          </p:nvSpPr>
          <p:spPr>
            <a:xfrm>
              <a:off x="5614522" y="2197039"/>
              <a:ext cx="335294"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2</a:t>
              </a:r>
              <a:endParaRPr lang="en-US" sz="1000" b="1" dirty="0">
                <a:solidFill>
                  <a:srgbClr val="FFFFFF"/>
                </a:solidFill>
                <a:latin typeface="Calibri"/>
              </a:endParaRPr>
            </a:p>
          </p:txBody>
        </p:sp>
      </p:grpSp>
      <p:grpSp>
        <p:nvGrpSpPr>
          <p:cNvPr id="673" name="Группа 672"/>
          <p:cNvGrpSpPr/>
          <p:nvPr/>
        </p:nvGrpSpPr>
        <p:grpSpPr>
          <a:xfrm>
            <a:off x="3559448" y="2552946"/>
            <a:ext cx="225717" cy="230012"/>
            <a:chOff x="5472944" y="2190334"/>
            <a:chExt cx="195741" cy="195251"/>
          </a:xfrm>
        </p:grpSpPr>
        <p:sp>
          <p:nvSpPr>
            <p:cNvPr id="674" name="Rectangle 3"/>
            <p:cNvSpPr/>
            <p:nvPr/>
          </p:nvSpPr>
          <p:spPr>
            <a:xfrm>
              <a:off x="5472944" y="2190334"/>
              <a:ext cx="195741" cy="195251"/>
            </a:xfrm>
            <a:prstGeom prst="ellipse">
              <a:avLst/>
            </a:prstGeom>
            <a:solidFill>
              <a:schemeClr val="accent4"/>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679" name="Title 1"/>
            <p:cNvSpPr txBox="1">
              <a:spLocks/>
            </p:cNvSpPr>
            <p:nvPr/>
          </p:nvSpPr>
          <p:spPr>
            <a:xfrm>
              <a:off x="5501457" y="2195390"/>
              <a:ext cx="144016"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6</a:t>
              </a:r>
              <a:endParaRPr lang="en-US" sz="1000" b="1" dirty="0">
                <a:solidFill>
                  <a:srgbClr val="FFFFFF"/>
                </a:solidFill>
                <a:latin typeface="Calibri"/>
              </a:endParaRPr>
            </a:p>
          </p:txBody>
        </p:sp>
      </p:grpSp>
      <p:grpSp>
        <p:nvGrpSpPr>
          <p:cNvPr id="680" name="Группа 679"/>
          <p:cNvGrpSpPr/>
          <p:nvPr/>
        </p:nvGrpSpPr>
        <p:grpSpPr>
          <a:xfrm>
            <a:off x="5942755" y="3298851"/>
            <a:ext cx="225717" cy="230012"/>
            <a:chOff x="5935509" y="2198380"/>
            <a:chExt cx="195741" cy="195251"/>
          </a:xfrm>
        </p:grpSpPr>
        <p:sp>
          <p:nvSpPr>
            <p:cNvPr id="681" name="Rectangle 3"/>
            <p:cNvSpPr/>
            <p:nvPr/>
          </p:nvSpPr>
          <p:spPr>
            <a:xfrm>
              <a:off x="5935509" y="2198380"/>
              <a:ext cx="195741" cy="195251"/>
            </a:xfrm>
            <a:prstGeom prst="ellipse">
              <a:avLst/>
            </a:prstGeom>
            <a:solidFill>
              <a:srgbClr val="92D050"/>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682" name="Title 1"/>
            <p:cNvSpPr txBox="1">
              <a:spLocks/>
            </p:cNvSpPr>
            <p:nvPr/>
          </p:nvSpPr>
          <p:spPr>
            <a:xfrm>
              <a:off x="5961273" y="2208191"/>
              <a:ext cx="141945"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1</a:t>
              </a:r>
              <a:endParaRPr lang="en-US" sz="1000" b="1" dirty="0">
                <a:solidFill>
                  <a:srgbClr val="FFFFFF"/>
                </a:solidFill>
                <a:latin typeface="Calibri"/>
              </a:endParaRPr>
            </a:p>
          </p:txBody>
        </p:sp>
      </p:grpSp>
      <p:grpSp>
        <p:nvGrpSpPr>
          <p:cNvPr id="683" name="Группа 682"/>
          <p:cNvGrpSpPr/>
          <p:nvPr/>
        </p:nvGrpSpPr>
        <p:grpSpPr>
          <a:xfrm>
            <a:off x="5608292" y="3291237"/>
            <a:ext cx="386641" cy="230012"/>
            <a:chOff x="5614522" y="2191983"/>
            <a:chExt cx="335294" cy="195251"/>
          </a:xfrm>
        </p:grpSpPr>
        <p:sp>
          <p:nvSpPr>
            <p:cNvPr id="684" name="Rectangle 3"/>
            <p:cNvSpPr/>
            <p:nvPr/>
          </p:nvSpPr>
          <p:spPr>
            <a:xfrm>
              <a:off x="5688496" y="2191983"/>
              <a:ext cx="195741" cy="195251"/>
            </a:xfrm>
            <a:prstGeom prst="ellipse">
              <a:avLst/>
            </a:prstGeom>
            <a:solidFill>
              <a:schemeClr val="bg2"/>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686" name="Title 1"/>
            <p:cNvSpPr txBox="1">
              <a:spLocks/>
            </p:cNvSpPr>
            <p:nvPr/>
          </p:nvSpPr>
          <p:spPr>
            <a:xfrm>
              <a:off x="5614522" y="2197039"/>
              <a:ext cx="335294"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1</a:t>
              </a:r>
              <a:endParaRPr lang="en-US" sz="1000" b="1" dirty="0">
                <a:solidFill>
                  <a:srgbClr val="FFFFFF"/>
                </a:solidFill>
                <a:latin typeface="Calibri"/>
              </a:endParaRPr>
            </a:p>
          </p:txBody>
        </p:sp>
      </p:grpSp>
      <p:grpSp>
        <p:nvGrpSpPr>
          <p:cNvPr id="690" name="Группа 689"/>
          <p:cNvGrpSpPr/>
          <p:nvPr/>
        </p:nvGrpSpPr>
        <p:grpSpPr>
          <a:xfrm>
            <a:off x="5444404" y="3289295"/>
            <a:ext cx="225717" cy="230012"/>
            <a:chOff x="5472944" y="2190334"/>
            <a:chExt cx="195741" cy="195251"/>
          </a:xfrm>
        </p:grpSpPr>
        <p:sp>
          <p:nvSpPr>
            <p:cNvPr id="691" name="Rectangle 3"/>
            <p:cNvSpPr/>
            <p:nvPr/>
          </p:nvSpPr>
          <p:spPr>
            <a:xfrm>
              <a:off x="5472944" y="2190334"/>
              <a:ext cx="195741" cy="195251"/>
            </a:xfrm>
            <a:prstGeom prst="ellipse">
              <a:avLst/>
            </a:prstGeom>
            <a:solidFill>
              <a:schemeClr val="accent4"/>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692" name="Title 1"/>
            <p:cNvSpPr txBox="1">
              <a:spLocks/>
            </p:cNvSpPr>
            <p:nvPr/>
          </p:nvSpPr>
          <p:spPr>
            <a:xfrm>
              <a:off x="5501457" y="2195390"/>
              <a:ext cx="144016" cy="171352"/>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1</a:t>
              </a:r>
              <a:endParaRPr lang="en-US" sz="1000" b="1" dirty="0">
                <a:solidFill>
                  <a:srgbClr val="FFFFFF"/>
                </a:solidFill>
                <a:latin typeface="Calibri"/>
              </a:endParaRPr>
            </a:p>
          </p:txBody>
        </p:sp>
      </p:grpSp>
      <p:grpSp>
        <p:nvGrpSpPr>
          <p:cNvPr id="694" name="Группа 693"/>
          <p:cNvGrpSpPr/>
          <p:nvPr/>
        </p:nvGrpSpPr>
        <p:grpSpPr>
          <a:xfrm>
            <a:off x="4794251" y="3207493"/>
            <a:ext cx="386641" cy="230012"/>
            <a:chOff x="5614522" y="2191983"/>
            <a:chExt cx="335294" cy="195251"/>
          </a:xfrm>
        </p:grpSpPr>
        <p:sp>
          <p:nvSpPr>
            <p:cNvPr id="696" name="Rectangle 3"/>
            <p:cNvSpPr/>
            <p:nvPr/>
          </p:nvSpPr>
          <p:spPr>
            <a:xfrm>
              <a:off x="5688496" y="2191983"/>
              <a:ext cx="195741" cy="195251"/>
            </a:xfrm>
            <a:prstGeom prst="ellipse">
              <a:avLst/>
            </a:prstGeom>
            <a:solidFill>
              <a:schemeClr val="bg2"/>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698" name="Title 1"/>
            <p:cNvSpPr txBox="1">
              <a:spLocks/>
            </p:cNvSpPr>
            <p:nvPr/>
          </p:nvSpPr>
          <p:spPr>
            <a:xfrm>
              <a:off x="5614522" y="2197039"/>
              <a:ext cx="335294"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en-US" sz="1000" b="1" dirty="0">
                  <a:solidFill>
                    <a:srgbClr val="FFFFFF"/>
                  </a:solidFill>
                  <a:latin typeface="Calibri"/>
                </a:rPr>
                <a:t>1</a:t>
              </a:r>
              <a:r>
                <a:rPr lang="ru-RU" sz="1000" b="1" dirty="0">
                  <a:solidFill>
                    <a:srgbClr val="FFFFFF"/>
                  </a:solidFill>
                  <a:latin typeface="Calibri"/>
                </a:rPr>
                <a:t>5</a:t>
              </a:r>
              <a:endParaRPr lang="en-US" sz="1000" b="1" dirty="0">
                <a:solidFill>
                  <a:srgbClr val="FFFFFF"/>
                </a:solidFill>
                <a:latin typeface="Calibri"/>
              </a:endParaRPr>
            </a:p>
          </p:txBody>
        </p:sp>
      </p:grpSp>
      <p:grpSp>
        <p:nvGrpSpPr>
          <p:cNvPr id="700" name="Группа 699"/>
          <p:cNvGrpSpPr/>
          <p:nvPr/>
        </p:nvGrpSpPr>
        <p:grpSpPr>
          <a:xfrm>
            <a:off x="4138145" y="4723382"/>
            <a:ext cx="370491" cy="230012"/>
            <a:chOff x="5108341" y="5742983"/>
            <a:chExt cx="321289" cy="195251"/>
          </a:xfrm>
        </p:grpSpPr>
        <p:sp>
          <p:nvSpPr>
            <p:cNvPr id="701" name="Rectangle 3"/>
            <p:cNvSpPr/>
            <p:nvPr/>
          </p:nvSpPr>
          <p:spPr>
            <a:xfrm>
              <a:off x="5170886" y="5742983"/>
              <a:ext cx="195741" cy="195251"/>
            </a:xfrm>
            <a:prstGeom prst="ellipse">
              <a:avLst/>
            </a:prstGeom>
            <a:solidFill>
              <a:srgbClr val="92D050"/>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702" name="Title 1"/>
            <p:cNvSpPr txBox="1">
              <a:spLocks/>
            </p:cNvSpPr>
            <p:nvPr/>
          </p:nvSpPr>
          <p:spPr>
            <a:xfrm>
              <a:off x="5108341" y="5756604"/>
              <a:ext cx="321289"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en-US" sz="1000" b="1" dirty="0">
                  <a:solidFill>
                    <a:srgbClr val="FFFFFF"/>
                  </a:solidFill>
                  <a:latin typeface="Calibri"/>
                </a:rPr>
                <a:t>2</a:t>
              </a:r>
            </a:p>
          </p:txBody>
        </p:sp>
      </p:grpSp>
      <p:grpSp>
        <p:nvGrpSpPr>
          <p:cNvPr id="706" name="Группа 705"/>
          <p:cNvGrpSpPr/>
          <p:nvPr/>
        </p:nvGrpSpPr>
        <p:grpSpPr>
          <a:xfrm>
            <a:off x="6877584" y="4624274"/>
            <a:ext cx="370491" cy="230012"/>
            <a:chOff x="5109138" y="5742983"/>
            <a:chExt cx="321289" cy="195251"/>
          </a:xfrm>
        </p:grpSpPr>
        <p:sp>
          <p:nvSpPr>
            <p:cNvPr id="707" name="Rectangle 3"/>
            <p:cNvSpPr/>
            <p:nvPr/>
          </p:nvSpPr>
          <p:spPr>
            <a:xfrm>
              <a:off x="5170886" y="5742983"/>
              <a:ext cx="195741" cy="195251"/>
            </a:xfrm>
            <a:prstGeom prst="ellipse">
              <a:avLst/>
            </a:prstGeom>
            <a:solidFill>
              <a:srgbClr val="92D050"/>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708" name="Title 1"/>
            <p:cNvSpPr txBox="1">
              <a:spLocks/>
            </p:cNvSpPr>
            <p:nvPr/>
          </p:nvSpPr>
          <p:spPr>
            <a:xfrm>
              <a:off x="5109138" y="5756604"/>
              <a:ext cx="321289"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en-US" sz="1000" b="1" dirty="0">
                  <a:solidFill>
                    <a:srgbClr val="FFFFFF"/>
                  </a:solidFill>
                  <a:latin typeface="Calibri"/>
                </a:rPr>
                <a:t>2</a:t>
              </a:r>
            </a:p>
          </p:txBody>
        </p:sp>
      </p:grpSp>
      <p:grpSp>
        <p:nvGrpSpPr>
          <p:cNvPr id="716" name="Группа 715"/>
          <p:cNvGrpSpPr/>
          <p:nvPr/>
        </p:nvGrpSpPr>
        <p:grpSpPr>
          <a:xfrm>
            <a:off x="4721460" y="4072484"/>
            <a:ext cx="370491" cy="230012"/>
            <a:chOff x="5105328" y="5742983"/>
            <a:chExt cx="321289" cy="195251"/>
          </a:xfrm>
        </p:grpSpPr>
        <p:sp>
          <p:nvSpPr>
            <p:cNvPr id="718" name="Rectangle 3"/>
            <p:cNvSpPr/>
            <p:nvPr/>
          </p:nvSpPr>
          <p:spPr>
            <a:xfrm>
              <a:off x="5170886" y="5742983"/>
              <a:ext cx="195741" cy="195251"/>
            </a:xfrm>
            <a:prstGeom prst="ellipse">
              <a:avLst/>
            </a:prstGeom>
            <a:solidFill>
              <a:srgbClr val="92D050"/>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719" name="Title 1"/>
            <p:cNvSpPr txBox="1">
              <a:spLocks/>
            </p:cNvSpPr>
            <p:nvPr/>
          </p:nvSpPr>
          <p:spPr>
            <a:xfrm>
              <a:off x="5105328" y="5756604"/>
              <a:ext cx="321289"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en-US" sz="1000" b="1" dirty="0">
                  <a:solidFill>
                    <a:srgbClr val="FFFFFF"/>
                  </a:solidFill>
                  <a:latin typeface="Calibri"/>
                </a:rPr>
                <a:t>4</a:t>
              </a:r>
            </a:p>
          </p:txBody>
        </p:sp>
      </p:grpSp>
      <p:grpSp>
        <p:nvGrpSpPr>
          <p:cNvPr id="722" name="Группа 721"/>
          <p:cNvGrpSpPr/>
          <p:nvPr/>
        </p:nvGrpSpPr>
        <p:grpSpPr>
          <a:xfrm>
            <a:off x="4864687" y="3687521"/>
            <a:ext cx="370491" cy="230012"/>
            <a:chOff x="5105328" y="5742983"/>
            <a:chExt cx="321289" cy="195251"/>
          </a:xfrm>
        </p:grpSpPr>
        <p:sp>
          <p:nvSpPr>
            <p:cNvPr id="724" name="Rectangle 3"/>
            <p:cNvSpPr/>
            <p:nvPr/>
          </p:nvSpPr>
          <p:spPr>
            <a:xfrm>
              <a:off x="5170886" y="5742983"/>
              <a:ext cx="195741" cy="195251"/>
            </a:xfrm>
            <a:prstGeom prst="ellipse">
              <a:avLst/>
            </a:prstGeom>
            <a:solidFill>
              <a:srgbClr val="92D050"/>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726" name="Title 1"/>
            <p:cNvSpPr txBox="1">
              <a:spLocks/>
            </p:cNvSpPr>
            <p:nvPr/>
          </p:nvSpPr>
          <p:spPr>
            <a:xfrm>
              <a:off x="5105328" y="5756604"/>
              <a:ext cx="321289"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en-US" sz="1000" b="1" dirty="0">
                  <a:solidFill>
                    <a:srgbClr val="FFFFFF"/>
                  </a:solidFill>
                  <a:latin typeface="Calibri"/>
                </a:rPr>
                <a:t>4</a:t>
              </a:r>
            </a:p>
          </p:txBody>
        </p:sp>
      </p:grpSp>
      <p:grpSp>
        <p:nvGrpSpPr>
          <p:cNvPr id="731" name="Группа 730"/>
          <p:cNvGrpSpPr/>
          <p:nvPr/>
        </p:nvGrpSpPr>
        <p:grpSpPr>
          <a:xfrm>
            <a:off x="4342154" y="4109653"/>
            <a:ext cx="370491" cy="230012"/>
            <a:chOff x="5105328" y="5742983"/>
            <a:chExt cx="321289" cy="195251"/>
          </a:xfrm>
        </p:grpSpPr>
        <p:sp>
          <p:nvSpPr>
            <p:cNvPr id="732" name="Rectangle 3"/>
            <p:cNvSpPr/>
            <p:nvPr/>
          </p:nvSpPr>
          <p:spPr>
            <a:xfrm>
              <a:off x="5170886" y="5742983"/>
              <a:ext cx="195741" cy="195251"/>
            </a:xfrm>
            <a:prstGeom prst="ellipse">
              <a:avLst/>
            </a:prstGeom>
            <a:solidFill>
              <a:schemeClr val="bg2"/>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733" name="Title 1"/>
            <p:cNvSpPr txBox="1">
              <a:spLocks/>
            </p:cNvSpPr>
            <p:nvPr/>
          </p:nvSpPr>
          <p:spPr>
            <a:xfrm>
              <a:off x="5105328" y="5756604"/>
              <a:ext cx="321289"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en-US" sz="1000" b="1" dirty="0">
                  <a:solidFill>
                    <a:srgbClr val="FFFFFF"/>
                  </a:solidFill>
                  <a:latin typeface="Calibri"/>
                </a:rPr>
                <a:t>2</a:t>
              </a:r>
            </a:p>
          </p:txBody>
        </p:sp>
      </p:grpSp>
      <p:grpSp>
        <p:nvGrpSpPr>
          <p:cNvPr id="734" name="Группа 733"/>
          <p:cNvGrpSpPr/>
          <p:nvPr/>
        </p:nvGrpSpPr>
        <p:grpSpPr>
          <a:xfrm>
            <a:off x="4159964" y="4105383"/>
            <a:ext cx="225717" cy="230012"/>
            <a:chOff x="5472944" y="2190334"/>
            <a:chExt cx="195741" cy="195251"/>
          </a:xfrm>
        </p:grpSpPr>
        <p:sp>
          <p:nvSpPr>
            <p:cNvPr id="735" name="Rectangle 3"/>
            <p:cNvSpPr/>
            <p:nvPr/>
          </p:nvSpPr>
          <p:spPr>
            <a:xfrm>
              <a:off x="5472944" y="2190334"/>
              <a:ext cx="195741" cy="195251"/>
            </a:xfrm>
            <a:prstGeom prst="ellipse">
              <a:avLst/>
            </a:prstGeom>
            <a:solidFill>
              <a:schemeClr val="accent4"/>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742" name="Title 1"/>
            <p:cNvSpPr txBox="1">
              <a:spLocks/>
            </p:cNvSpPr>
            <p:nvPr/>
          </p:nvSpPr>
          <p:spPr>
            <a:xfrm>
              <a:off x="5501457" y="2195390"/>
              <a:ext cx="144016"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4</a:t>
              </a:r>
              <a:endParaRPr lang="en-US" sz="1000" b="1" dirty="0">
                <a:solidFill>
                  <a:srgbClr val="FFFFFF"/>
                </a:solidFill>
                <a:latin typeface="Calibri"/>
              </a:endParaRPr>
            </a:p>
          </p:txBody>
        </p:sp>
      </p:grpSp>
      <p:grpSp>
        <p:nvGrpSpPr>
          <p:cNvPr id="743" name="Группа 742"/>
          <p:cNvGrpSpPr/>
          <p:nvPr/>
        </p:nvGrpSpPr>
        <p:grpSpPr>
          <a:xfrm>
            <a:off x="3749901" y="3536194"/>
            <a:ext cx="370491" cy="230012"/>
            <a:chOff x="5105328" y="5742983"/>
            <a:chExt cx="321289" cy="195251"/>
          </a:xfrm>
        </p:grpSpPr>
        <p:sp>
          <p:nvSpPr>
            <p:cNvPr id="744" name="Rectangle 3"/>
            <p:cNvSpPr/>
            <p:nvPr/>
          </p:nvSpPr>
          <p:spPr>
            <a:xfrm>
              <a:off x="5170886" y="5742983"/>
              <a:ext cx="195741" cy="195251"/>
            </a:xfrm>
            <a:prstGeom prst="ellipse">
              <a:avLst/>
            </a:prstGeom>
            <a:solidFill>
              <a:schemeClr val="bg2"/>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745" name="Title 1"/>
            <p:cNvSpPr txBox="1">
              <a:spLocks/>
            </p:cNvSpPr>
            <p:nvPr/>
          </p:nvSpPr>
          <p:spPr>
            <a:xfrm>
              <a:off x="5105328" y="5756604"/>
              <a:ext cx="321289"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4</a:t>
              </a:r>
              <a:endParaRPr lang="en-US" sz="1000" b="1" dirty="0">
                <a:solidFill>
                  <a:srgbClr val="FFFFFF"/>
                </a:solidFill>
                <a:latin typeface="Calibri"/>
              </a:endParaRPr>
            </a:p>
          </p:txBody>
        </p:sp>
      </p:grpSp>
      <p:grpSp>
        <p:nvGrpSpPr>
          <p:cNvPr id="746" name="Группа 745"/>
          <p:cNvGrpSpPr/>
          <p:nvPr/>
        </p:nvGrpSpPr>
        <p:grpSpPr>
          <a:xfrm>
            <a:off x="3578099" y="3545500"/>
            <a:ext cx="225717" cy="230012"/>
            <a:chOff x="5472944" y="2190334"/>
            <a:chExt cx="195741" cy="195251"/>
          </a:xfrm>
        </p:grpSpPr>
        <p:sp>
          <p:nvSpPr>
            <p:cNvPr id="747" name="Rectangle 3"/>
            <p:cNvSpPr/>
            <p:nvPr/>
          </p:nvSpPr>
          <p:spPr>
            <a:xfrm>
              <a:off x="5472944" y="2190334"/>
              <a:ext cx="195741" cy="195251"/>
            </a:xfrm>
            <a:prstGeom prst="ellipse">
              <a:avLst/>
            </a:prstGeom>
            <a:solidFill>
              <a:schemeClr val="accent4"/>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748" name="Title 1"/>
            <p:cNvSpPr txBox="1">
              <a:spLocks/>
            </p:cNvSpPr>
            <p:nvPr/>
          </p:nvSpPr>
          <p:spPr>
            <a:xfrm>
              <a:off x="5501457" y="2195390"/>
              <a:ext cx="144016"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2</a:t>
              </a:r>
              <a:endParaRPr lang="en-US" sz="1000" b="1" dirty="0">
                <a:solidFill>
                  <a:srgbClr val="FFFFFF"/>
                </a:solidFill>
                <a:latin typeface="Calibri"/>
              </a:endParaRPr>
            </a:p>
          </p:txBody>
        </p:sp>
      </p:grpSp>
      <p:grpSp>
        <p:nvGrpSpPr>
          <p:cNvPr id="749" name="Группа 748"/>
          <p:cNvGrpSpPr/>
          <p:nvPr/>
        </p:nvGrpSpPr>
        <p:grpSpPr>
          <a:xfrm>
            <a:off x="3338171" y="4168350"/>
            <a:ext cx="225717" cy="230012"/>
            <a:chOff x="5935509" y="2198380"/>
            <a:chExt cx="195741" cy="195251"/>
          </a:xfrm>
        </p:grpSpPr>
        <p:sp>
          <p:nvSpPr>
            <p:cNvPr id="750" name="Rectangle 3"/>
            <p:cNvSpPr/>
            <p:nvPr/>
          </p:nvSpPr>
          <p:spPr>
            <a:xfrm>
              <a:off x="5935509" y="2198380"/>
              <a:ext cx="195741" cy="195251"/>
            </a:xfrm>
            <a:prstGeom prst="ellipse">
              <a:avLst/>
            </a:prstGeom>
            <a:solidFill>
              <a:srgbClr val="92D050"/>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757" name="Title 1"/>
            <p:cNvSpPr txBox="1">
              <a:spLocks/>
            </p:cNvSpPr>
            <p:nvPr/>
          </p:nvSpPr>
          <p:spPr>
            <a:xfrm>
              <a:off x="5961273" y="2208191"/>
              <a:ext cx="141945"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2</a:t>
              </a:r>
              <a:endParaRPr lang="en-US" sz="1000" b="1" dirty="0">
                <a:solidFill>
                  <a:srgbClr val="FFFFFF"/>
                </a:solidFill>
                <a:latin typeface="Calibri"/>
              </a:endParaRPr>
            </a:p>
          </p:txBody>
        </p:sp>
      </p:grpSp>
      <p:grpSp>
        <p:nvGrpSpPr>
          <p:cNvPr id="758" name="Группа 757"/>
          <p:cNvGrpSpPr/>
          <p:nvPr/>
        </p:nvGrpSpPr>
        <p:grpSpPr>
          <a:xfrm>
            <a:off x="3019111" y="4167213"/>
            <a:ext cx="370491" cy="230012"/>
            <a:chOff x="5105328" y="5742983"/>
            <a:chExt cx="321289" cy="195251"/>
          </a:xfrm>
        </p:grpSpPr>
        <p:sp>
          <p:nvSpPr>
            <p:cNvPr id="760" name="Rectangle 3"/>
            <p:cNvSpPr/>
            <p:nvPr/>
          </p:nvSpPr>
          <p:spPr>
            <a:xfrm>
              <a:off x="5170886" y="5742983"/>
              <a:ext cx="195741" cy="195251"/>
            </a:xfrm>
            <a:prstGeom prst="ellipse">
              <a:avLst/>
            </a:prstGeom>
            <a:solidFill>
              <a:schemeClr val="bg2"/>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766" name="Title 1"/>
            <p:cNvSpPr txBox="1">
              <a:spLocks/>
            </p:cNvSpPr>
            <p:nvPr/>
          </p:nvSpPr>
          <p:spPr>
            <a:xfrm>
              <a:off x="5105328" y="5756604"/>
              <a:ext cx="321289"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4</a:t>
              </a:r>
              <a:endParaRPr lang="en-US" sz="1000" b="1" dirty="0">
                <a:solidFill>
                  <a:srgbClr val="FFFFFF"/>
                </a:solidFill>
                <a:latin typeface="Calibri"/>
              </a:endParaRPr>
            </a:p>
          </p:txBody>
        </p:sp>
      </p:grpSp>
      <p:grpSp>
        <p:nvGrpSpPr>
          <p:cNvPr id="767" name="Группа 766"/>
          <p:cNvGrpSpPr/>
          <p:nvPr/>
        </p:nvGrpSpPr>
        <p:grpSpPr>
          <a:xfrm>
            <a:off x="4867986" y="2262884"/>
            <a:ext cx="225717" cy="230012"/>
            <a:chOff x="5935509" y="2198380"/>
            <a:chExt cx="195741" cy="195251"/>
          </a:xfrm>
        </p:grpSpPr>
        <p:sp>
          <p:nvSpPr>
            <p:cNvPr id="768" name="Rectangle 3"/>
            <p:cNvSpPr/>
            <p:nvPr/>
          </p:nvSpPr>
          <p:spPr>
            <a:xfrm>
              <a:off x="5935509" y="2198380"/>
              <a:ext cx="195741" cy="195251"/>
            </a:xfrm>
            <a:prstGeom prst="ellipse">
              <a:avLst/>
            </a:prstGeom>
            <a:solidFill>
              <a:srgbClr val="92D050"/>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769" name="Title 1"/>
            <p:cNvSpPr txBox="1">
              <a:spLocks/>
            </p:cNvSpPr>
            <p:nvPr/>
          </p:nvSpPr>
          <p:spPr>
            <a:xfrm>
              <a:off x="5961273" y="2208191"/>
              <a:ext cx="141945"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sz="1000" b="1" dirty="0">
                  <a:solidFill>
                    <a:srgbClr val="FFFFFF"/>
                  </a:solidFill>
                  <a:latin typeface="Calibri"/>
                </a:rPr>
                <a:t>1</a:t>
              </a:r>
              <a:endParaRPr lang="en-US" sz="1000" b="1" dirty="0">
                <a:solidFill>
                  <a:srgbClr val="FFFFFF"/>
                </a:solidFill>
                <a:latin typeface="Calibri"/>
              </a:endParaRPr>
            </a:p>
          </p:txBody>
        </p:sp>
      </p:grpSp>
      <p:grpSp>
        <p:nvGrpSpPr>
          <p:cNvPr id="26" name="Группа 25"/>
          <p:cNvGrpSpPr/>
          <p:nvPr/>
        </p:nvGrpSpPr>
        <p:grpSpPr>
          <a:xfrm>
            <a:off x="359751" y="3619634"/>
            <a:ext cx="3696407" cy="2805245"/>
            <a:chOff x="453033" y="3600385"/>
            <a:chExt cx="3696407" cy="2805245"/>
          </a:xfrm>
        </p:grpSpPr>
        <p:grpSp>
          <p:nvGrpSpPr>
            <p:cNvPr id="389" name="Group 5"/>
            <p:cNvGrpSpPr/>
            <p:nvPr/>
          </p:nvGrpSpPr>
          <p:grpSpPr>
            <a:xfrm>
              <a:off x="539474" y="5333704"/>
              <a:ext cx="3608990" cy="590955"/>
              <a:chOff x="592644" y="1891151"/>
              <a:chExt cx="3608990" cy="443221"/>
            </a:xfrm>
          </p:grpSpPr>
          <p:sp>
            <p:nvSpPr>
              <p:cNvPr id="391" name="Rectangle 3"/>
              <p:cNvSpPr/>
              <p:nvPr/>
            </p:nvSpPr>
            <p:spPr>
              <a:xfrm>
                <a:off x="602132" y="1891572"/>
                <a:ext cx="576064" cy="442800"/>
              </a:xfrm>
              <a:prstGeom prst="rect">
                <a:avLst/>
              </a:prstGeom>
              <a:solidFill>
                <a:schemeClr val="accent5"/>
              </a:solidFill>
              <a:ln w="25400" cap="flat" cmpd="sng" algn="ctr">
                <a:noFill/>
                <a:prstDash val="solid"/>
              </a:ln>
              <a:effectLst/>
            </p:spPr>
            <p:txBody>
              <a:bodyPr rtlCol="0" anchor="ctr"/>
              <a:lstStyle/>
              <a:p>
                <a:pPr algn="ctr" defTabSz="914400">
                  <a:spcBef>
                    <a:spcPct val="0"/>
                  </a:spcBef>
                  <a:defRPr/>
                </a:pPr>
                <a:r>
                  <a:rPr lang="ru-RU" sz="2400" b="1" dirty="0">
                    <a:solidFill>
                      <a:srgbClr val="F6F8F8"/>
                    </a:solidFill>
                  </a:rPr>
                  <a:t>42</a:t>
                </a:r>
                <a:endParaRPr lang="en-US" sz="2400" b="1" dirty="0">
                  <a:solidFill>
                    <a:srgbClr val="F6F8F8"/>
                  </a:solidFill>
                </a:endParaRPr>
              </a:p>
            </p:txBody>
          </p:sp>
          <p:sp>
            <p:nvSpPr>
              <p:cNvPr id="392" name="Rectangle 28"/>
              <p:cNvSpPr/>
              <p:nvPr/>
            </p:nvSpPr>
            <p:spPr>
              <a:xfrm>
                <a:off x="1167386" y="1891151"/>
                <a:ext cx="1771111" cy="443221"/>
              </a:xfrm>
              <a:prstGeom prst="rect">
                <a:avLst/>
              </a:prstGeom>
              <a:solidFill>
                <a:schemeClr val="accent5">
                  <a:lumMod val="60000"/>
                  <a:lumOff val="40000"/>
                </a:schemeClr>
              </a:solidFill>
              <a:ln w="25400" cap="flat" cmpd="sng" algn="ctr">
                <a:noFill/>
                <a:prstDash val="solid"/>
              </a:ln>
              <a:effectLst/>
            </p:spPr>
            <p:txBody>
              <a:bodyPr rtlCol="0" anchor="ctr"/>
              <a:lstStyle/>
              <a:p>
                <a:pPr defTabSz="914400">
                  <a:defRPr/>
                </a:pPr>
                <a:r>
                  <a:rPr lang="en-US" sz="1200" b="1" kern="0" cap="all" dirty="0">
                    <a:solidFill>
                      <a:srgbClr val="FF0000"/>
                    </a:solidFill>
                  </a:rPr>
                  <a:t>In implementation</a:t>
                </a:r>
              </a:p>
            </p:txBody>
          </p:sp>
          <p:sp>
            <p:nvSpPr>
              <p:cNvPr id="397" name="Title 1"/>
              <p:cNvSpPr txBox="1">
                <a:spLocks/>
              </p:cNvSpPr>
              <p:nvPr/>
            </p:nvSpPr>
            <p:spPr>
              <a:xfrm>
                <a:off x="592644" y="1971010"/>
                <a:ext cx="575056" cy="248315"/>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endParaRPr lang="en-US" sz="2800" b="1" dirty="0">
                  <a:solidFill>
                    <a:srgbClr val="FFFFFF"/>
                  </a:solidFill>
                </a:endParaRPr>
              </a:p>
            </p:txBody>
          </p:sp>
          <p:sp>
            <p:nvSpPr>
              <p:cNvPr id="408" name="Rectangle 31"/>
              <p:cNvSpPr/>
              <p:nvPr/>
            </p:nvSpPr>
            <p:spPr>
              <a:xfrm>
                <a:off x="1178136" y="1928171"/>
                <a:ext cx="3023498" cy="386151"/>
              </a:xfrm>
              <a:prstGeom prst="rect">
                <a:avLst/>
              </a:prstGeom>
            </p:spPr>
            <p:txBody>
              <a:bodyPr wrap="square" anchor="ctr">
                <a:noAutofit/>
              </a:bodyPr>
              <a:lstStyle/>
              <a:p>
                <a:pPr defTabSz="914400">
                  <a:defRPr/>
                </a:pPr>
                <a:endParaRPr lang="en-US" sz="1200" b="1" kern="0" cap="all" dirty="0">
                  <a:solidFill>
                    <a:srgbClr val="FFFFFF"/>
                  </a:solidFill>
                </a:endParaRPr>
              </a:p>
            </p:txBody>
          </p:sp>
        </p:grpSp>
        <p:grpSp>
          <p:nvGrpSpPr>
            <p:cNvPr id="386" name="Group 5"/>
            <p:cNvGrpSpPr/>
            <p:nvPr/>
          </p:nvGrpSpPr>
          <p:grpSpPr>
            <a:xfrm>
              <a:off x="540450" y="4695426"/>
              <a:ext cx="3316202" cy="590402"/>
              <a:chOff x="602132" y="1894922"/>
              <a:chExt cx="3316202" cy="442801"/>
            </a:xfrm>
          </p:grpSpPr>
          <p:sp>
            <p:nvSpPr>
              <p:cNvPr id="387" name="Rectangle 3"/>
              <p:cNvSpPr/>
              <p:nvPr/>
            </p:nvSpPr>
            <p:spPr>
              <a:xfrm>
                <a:off x="611560" y="1894922"/>
                <a:ext cx="584654" cy="442800"/>
              </a:xfrm>
              <a:prstGeom prst="rect">
                <a:avLst/>
              </a:prstGeom>
              <a:solidFill>
                <a:schemeClr val="bg2"/>
              </a:solidFill>
              <a:ln w="25400" cap="flat" cmpd="sng" algn="ctr">
                <a:noFill/>
                <a:prstDash val="solid"/>
              </a:ln>
              <a:effectLst/>
            </p:spPr>
            <p:txBody>
              <a:bodyPr rtlCol="0" anchor="ctr"/>
              <a:lstStyle/>
              <a:p>
                <a:pPr algn="ctr" defTabSz="914400">
                  <a:defRPr/>
                </a:pPr>
                <a:endParaRPr lang="en-US" sz="1400" kern="0" dirty="0">
                  <a:solidFill>
                    <a:srgbClr val="F6F8F8"/>
                  </a:solidFill>
                </a:endParaRPr>
              </a:p>
            </p:txBody>
          </p:sp>
          <p:sp>
            <p:nvSpPr>
              <p:cNvPr id="388" name="Rectangle 28"/>
              <p:cNvSpPr/>
              <p:nvPr/>
            </p:nvSpPr>
            <p:spPr>
              <a:xfrm>
                <a:off x="1186303" y="1894923"/>
                <a:ext cx="1767126" cy="442800"/>
              </a:xfrm>
              <a:prstGeom prst="rect">
                <a:avLst/>
              </a:prstGeom>
              <a:solidFill>
                <a:schemeClr val="accent1">
                  <a:lumMod val="60000"/>
                  <a:lumOff val="40000"/>
                </a:schemeClr>
              </a:solidFill>
              <a:ln w="25400" cap="flat" cmpd="sng" algn="ctr">
                <a:noFill/>
                <a:prstDash val="solid"/>
              </a:ln>
              <a:effectLst/>
            </p:spPr>
            <p:txBody>
              <a:bodyPr rtlCol="0" anchor="ctr"/>
              <a:lstStyle/>
              <a:p>
                <a:pPr algn="ctr" defTabSz="914400">
                  <a:defRPr/>
                </a:pPr>
                <a:endParaRPr lang="en-US" kern="0" dirty="0">
                  <a:solidFill>
                    <a:srgbClr val="F6F8F8"/>
                  </a:solidFill>
                </a:endParaRPr>
              </a:p>
            </p:txBody>
          </p:sp>
          <p:sp>
            <p:nvSpPr>
              <p:cNvPr id="390" name="Title 1"/>
              <p:cNvSpPr txBox="1">
                <a:spLocks/>
              </p:cNvSpPr>
              <p:nvPr/>
            </p:nvSpPr>
            <p:spPr>
              <a:xfrm>
                <a:off x="602132" y="2002803"/>
                <a:ext cx="575056" cy="248315"/>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b="1" dirty="0">
                    <a:solidFill>
                      <a:srgbClr val="F6F8F8"/>
                    </a:solidFill>
                  </a:rPr>
                  <a:t>6</a:t>
                </a:r>
                <a:r>
                  <a:rPr lang="en-US" b="1" dirty="0">
                    <a:solidFill>
                      <a:srgbClr val="F6F8F8"/>
                    </a:solidFill>
                  </a:rPr>
                  <a:t>2</a:t>
                </a:r>
              </a:p>
            </p:txBody>
          </p:sp>
          <p:sp>
            <p:nvSpPr>
              <p:cNvPr id="393" name="Rectangle 31"/>
              <p:cNvSpPr/>
              <p:nvPr/>
            </p:nvSpPr>
            <p:spPr>
              <a:xfrm>
                <a:off x="1187624" y="1929141"/>
                <a:ext cx="2730710" cy="386151"/>
              </a:xfrm>
              <a:prstGeom prst="rect">
                <a:avLst/>
              </a:prstGeom>
            </p:spPr>
            <p:txBody>
              <a:bodyPr wrap="square" anchor="ctr">
                <a:noAutofit/>
              </a:bodyPr>
              <a:lstStyle/>
              <a:p>
                <a:pPr defTabSz="914400">
                  <a:defRPr/>
                </a:pPr>
                <a:r>
                  <a:rPr lang="en-US" sz="1200" b="1" kern="0" cap="all" dirty="0">
                    <a:solidFill>
                      <a:srgbClr val="F6F8F8"/>
                    </a:solidFill>
                  </a:rPr>
                  <a:t>operational</a:t>
                </a:r>
              </a:p>
            </p:txBody>
          </p:sp>
        </p:grpSp>
        <p:sp>
          <p:nvSpPr>
            <p:cNvPr id="420" name="Rectangle 31"/>
            <p:cNvSpPr/>
            <p:nvPr/>
          </p:nvSpPr>
          <p:spPr>
            <a:xfrm>
              <a:off x="468382" y="3600385"/>
              <a:ext cx="3023498" cy="514869"/>
            </a:xfrm>
            <a:prstGeom prst="rect">
              <a:avLst/>
            </a:prstGeom>
          </p:spPr>
          <p:txBody>
            <a:bodyPr wrap="square" anchor="ctr">
              <a:noAutofit/>
            </a:bodyPr>
            <a:lstStyle/>
            <a:p>
              <a:pPr defTabSz="914400">
                <a:defRPr/>
              </a:pPr>
              <a:endParaRPr lang="en-US" sz="1400" b="1" kern="0" cap="all" dirty="0">
                <a:solidFill>
                  <a:srgbClr val="0070C0"/>
                </a:solidFill>
                <a:ea typeface="Tahoma" pitchFamily="34" charset="0"/>
                <a:cs typeface="Tahoma" pitchFamily="34" charset="0"/>
              </a:endParaRPr>
            </a:p>
          </p:txBody>
        </p:sp>
        <p:grpSp>
          <p:nvGrpSpPr>
            <p:cNvPr id="421" name="Group 5"/>
            <p:cNvGrpSpPr/>
            <p:nvPr/>
          </p:nvGrpSpPr>
          <p:grpSpPr>
            <a:xfrm>
              <a:off x="540450" y="4061691"/>
              <a:ext cx="3608990" cy="590405"/>
              <a:chOff x="592151" y="464126"/>
              <a:chExt cx="3608990" cy="442801"/>
            </a:xfrm>
          </p:grpSpPr>
          <p:sp>
            <p:nvSpPr>
              <p:cNvPr id="426" name="Rectangle 3"/>
              <p:cNvSpPr/>
              <p:nvPr/>
            </p:nvSpPr>
            <p:spPr>
              <a:xfrm>
                <a:off x="601579" y="464126"/>
                <a:ext cx="576064" cy="442800"/>
              </a:xfrm>
              <a:prstGeom prst="rect">
                <a:avLst/>
              </a:prstGeom>
              <a:solidFill>
                <a:schemeClr val="accent4"/>
              </a:solidFill>
              <a:ln w="25400" cap="flat" cmpd="sng" algn="ctr">
                <a:noFill/>
                <a:prstDash val="solid"/>
              </a:ln>
              <a:effectLst/>
            </p:spPr>
            <p:txBody>
              <a:bodyPr rtlCol="0" anchor="ctr"/>
              <a:lstStyle/>
              <a:p>
                <a:pPr algn="ctr" defTabSz="914400">
                  <a:defRPr/>
                </a:pPr>
                <a:endParaRPr lang="en-US" sz="1400" kern="0">
                  <a:solidFill>
                    <a:srgbClr val="F6F8F8"/>
                  </a:solidFill>
                </a:endParaRPr>
              </a:p>
            </p:txBody>
          </p:sp>
          <p:sp>
            <p:nvSpPr>
              <p:cNvPr id="427" name="Rectangle 28"/>
              <p:cNvSpPr/>
              <p:nvPr/>
            </p:nvSpPr>
            <p:spPr>
              <a:xfrm>
                <a:off x="1176322" y="464127"/>
                <a:ext cx="1765401" cy="442800"/>
              </a:xfrm>
              <a:prstGeom prst="rect">
                <a:avLst/>
              </a:prstGeom>
              <a:solidFill>
                <a:schemeClr val="accent4">
                  <a:lumMod val="60000"/>
                  <a:lumOff val="40000"/>
                </a:schemeClr>
              </a:solidFill>
              <a:ln w="25400" cap="flat" cmpd="sng" algn="ctr">
                <a:noFill/>
                <a:prstDash val="solid"/>
              </a:ln>
              <a:effectLst/>
            </p:spPr>
            <p:txBody>
              <a:bodyPr rtlCol="0" anchor="ctr"/>
              <a:lstStyle/>
              <a:p>
                <a:pPr algn="ctr" defTabSz="914400">
                  <a:defRPr/>
                </a:pPr>
                <a:endParaRPr lang="en-US" kern="0">
                  <a:solidFill>
                    <a:srgbClr val="F6F8F8"/>
                  </a:solidFill>
                </a:endParaRPr>
              </a:p>
            </p:txBody>
          </p:sp>
          <p:sp>
            <p:nvSpPr>
              <p:cNvPr id="431" name="Title 1"/>
              <p:cNvSpPr txBox="1">
                <a:spLocks/>
              </p:cNvSpPr>
              <p:nvPr/>
            </p:nvSpPr>
            <p:spPr>
              <a:xfrm>
                <a:off x="592151" y="572006"/>
                <a:ext cx="575056" cy="248315"/>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ru-RU" b="1" dirty="0">
                    <a:solidFill>
                      <a:srgbClr val="F6F8F8"/>
                    </a:solidFill>
                  </a:rPr>
                  <a:t>1</a:t>
                </a:r>
                <a:r>
                  <a:rPr lang="en-US" b="1" dirty="0">
                    <a:solidFill>
                      <a:srgbClr val="F6F8F8"/>
                    </a:solidFill>
                  </a:rPr>
                  <a:t>6</a:t>
                </a:r>
              </a:p>
            </p:txBody>
          </p:sp>
          <p:sp>
            <p:nvSpPr>
              <p:cNvPr id="435" name="Rectangle 31"/>
              <p:cNvSpPr/>
              <p:nvPr/>
            </p:nvSpPr>
            <p:spPr>
              <a:xfrm>
                <a:off x="1177643" y="498345"/>
                <a:ext cx="3023498" cy="386151"/>
              </a:xfrm>
              <a:prstGeom prst="rect">
                <a:avLst/>
              </a:prstGeom>
            </p:spPr>
            <p:txBody>
              <a:bodyPr wrap="square" anchor="ctr">
                <a:noAutofit/>
              </a:bodyPr>
              <a:lstStyle/>
              <a:p>
                <a:pPr defTabSz="914400">
                  <a:defRPr/>
                </a:pPr>
                <a:r>
                  <a:rPr lang="en-US" sz="1200" b="1" kern="0" cap="all" dirty="0">
                    <a:solidFill>
                      <a:srgbClr val="F6F8F8"/>
                    </a:solidFill>
                  </a:rPr>
                  <a:t>Shutdown</a:t>
                </a:r>
              </a:p>
            </p:txBody>
          </p:sp>
        </p:grpSp>
        <p:sp>
          <p:nvSpPr>
            <p:cNvPr id="12" name="TextBox 11"/>
            <p:cNvSpPr txBox="1"/>
            <p:nvPr/>
          </p:nvSpPr>
          <p:spPr>
            <a:xfrm>
              <a:off x="453033" y="5995160"/>
              <a:ext cx="2336152" cy="307777"/>
            </a:xfrm>
            <a:prstGeom prst="rect">
              <a:avLst/>
            </a:prstGeom>
          </p:spPr>
          <p:txBody>
            <a:bodyPr wrap="square" anchor="ctr">
              <a:noAutofit/>
            </a:bodyPr>
            <a:lstStyle>
              <a:defPPr>
                <a:defRPr lang="ru-RU"/>
              </a:defPPr>
              <a:lvl1pPr defTabSz="914400">
                <a:defRPr sz="1400" b="1" kern="0">
                  <a:solidFill>
                    <a:srgbClr val="0070C0"/>
                  </a:solidFill>
                  <a:latin typeface="Tahoma" pitchFamily="34" charset="0"/>
                  <a:ea typeface="Tahoma" pitchFamily="34" charset="0"/>
                  <a:cs typeface="Tahoma" pitchFamily="34" charset="0"/>
                </a:defRPr>
              </a:lvl1pPr>
            </a:lstStyle>
            <a:p>
              <a:r>
                <a:rPr lang="en-US" sz="1600" cap="all" dirty="0">
                  <a:solidFill>
                    <a:srgbClr val="025EA1"/>
                  </a:solidFill>
                  <a:latin typeface="Arial" panose="020B0604020202020204"/>
                </a:rPr>
                <a:t>Total: </a:t>
              </a:r>
              <a:r>
                <a:rPr lang="ru-RU" sz="2400" dirty="0">
                  <a:solidFill>
                    <a:srgbClr val="025EA1"/>
                  </a:solidFill>
                  <a:latin typeface="Arial" panose="020B0604020202020204"/>
                </a:rPr>
                <a:t>120</a:t>
              </a:r>
            </a:p>
          </p:txBody>
        </p:sp>
        <p:sp>
          <p:nvSpPr>
            <p:cNvPr id="574" name="Title 1"/>
            <p:cNvSpPr txBox="1">
              <a:spLocks/>
            </p:cNvSpPr>
            <p:nvPr/>
          </p:nvSpPr>
          <p:spPr>
            <a:xfrm>
              <a:off x="539552" y="6074546"/>
              <a:ext cx="575056" cy="331084"/>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endParaRPr lang="en-US" sz="2800" b="1" dirty="0">
                <a:solidFill>
                  <a:srgbClr val="F6F8F8"/>
                </a:solidFill>
              </a:endParaRPr>
            </a:p>
          </p:txBody>
        </p:sp>
      </p:grpSp>
      <p:sp>
        <p:nvSpPr>
          <p:cNvPr id="483" name="TextBox 222"/>
          <p:cNvSpPr txBox="1">
            <a:spLocks noChangeArrowheads="1"/>
          </p:cNvSpPr>
          <p:nvPr>
            <p:custDataLst>
              <p:tags r:id="rId5"/>
            </p:custDataLst>
          </p:nvPr>
        </p:nvSpPr>
        <p:spPr bwMode="auto">
          <a:xfrm>
            <a:off x="6254011" y="3576241"/>
            <a:ext cx="725147" cy="275842"/>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China</a:t>
            </a:r>
            <a:endParaRPr lang="ru-RU" sz="900" b="1" kern="0" dirty="0">
              <a:solidFill>
                <a:srgbClr val="808080">
                  <a:lumMod val="75000"/>
                </a:srgbClr>
              </a:solidFill>
              <a:sym typeface="Arial" pitchFamily="34" charset="0"/>
            </a:endParaRPr>
          </a:p>
        </p:txBody>
      </p:sp>
      <p:sp>
        <p:nvSpPr>
          <p:cNvPr id="484" name="TextBox 222"/>
          <p:cNvSpPr txBox="1">
            <a:spLocks noChangeArrowheads="1"/>
          </p:cNvSpPr>
          <p:nvPr>
            <p:custDataLst>
              <p:tags r:id="rId6"/>
            </p:custDataLst>
          </p:nvPr>
        </p:nvSpPr>
        <p:spPr bwMode="auto">
          <a:xfrm>
            <a:off x="5691726" y="4104709"/>
            <a:ext cx="869195" cy="234155"/>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India</a:t>
            </a:r>
            <a:endParaRPr lang="ru-RU" sz="900" b="1" kern="0" dirty="0">
              <a:solidFill>
                <a:srgbClr val="808080">
                  <a:lumMod val="75000"/>
                </a:srgbClr>
              </a:solidFill>
              <a:sym typeface="Arial" pitchFamily="34" charset="0"/>
            </a:endParaRPr>
          </a:p>
        </p:txBody>
      </p:sp>
      <p:sp>
        <p:nvSpPr>
          <p:cNvPr id="485" name="TextBox 222"/>
          <p:cNvSpPr txBox="1">
            <a:spLocks noChangeArrowheads="1"/>
          </p:cNvSpPr>
          <p:nvPr>
            <p:custDataLst>
              <p:tags r:id="rId7"/>
            </p:custDataLst>
          </p:nvPr>
        </p:nvSpPr>
        <p:spPr bwMode="auto">
          <a:xfrm>
            <a:off x="4311619" y="2041769"/>
            <a:ext cx="764437" cy="234155"/>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Finland</a:t>
            </a:r>
            <a:endParaRPr lang="ru-RU" sz="900" b="1" kern="0" dirty="0">
              <a:solidFill>
                <a:srgbClr val="808080">
                  <a:lumMod val="75000"/>
                </a:srgbClr>
              </a:solidFill>
              <a:sym typeface="Arial" pitchFamily="34" charset="0"/>
            </a:endParaRPr>
          </a:p>
        </p:txBody>
      </p:sp>
      <p:sp>
        <p:nvSpPr>
          <p:cNvPr id="486" name="TextBox 222"/>
          <p:cNvSpPr txBox="1">
            <a:spLocks noChangeArrowheads="1"/>
          </p:cNvSpPr>
          <p:nvPr>
            <p:custDataLst>
              <p:tags r:id="rId8"/>
            </p:custDataLst>
          </p:nvPr>
        </p:nvSpPr>
        <p:spPr bwMode="auto">
          <a:xfrm>
            <a:off x="5054083" y="3680663"/>
            <a:ext cx="662476" cy="275842"/>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Iran</a:t>
            </a:r>
            <a:endParaRPr lang="ru-RU" sz="900" b="1" kern="0" dirty="0">
              <a:solidFill>
                <a:srgbClr val="808080">
                  <a:lumMod val="75000"/>
                </a:srgbClr>
              </a:solidFill>
              <a:sym typeface="Arial" pitchFamily="34" charset="0"/>
            </a:endParaRPr>
          </a:p>
        </p:txBody>
      </p:sp>
      <p:sp>
        <p:nvSpPr>
          <p:cNvPr id="487" name="TextBox 222"/>
          <p:cNvSpPr txBox="1">
            <a:spLocks noChangeArrowheads="1"/>
          </p:cNvSpPr>
          <p:nvPr>
            <p:custDataLst>
              <p:tags r:id="rId9"/>
            </p:custDataLst>
          </p:nvPr>
        </p:nvSpPr>
        <p:spPr bwMode="auto">
          <a:xfrm>
            <a:off x="4427819" y="4242882"/>
            <a:ext cx="717984" cy="275842"/>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Egypt</a:t>
            </a:r>
            <a:endParaRPr lang="ru-RU" sz="900" b="1" kern="0" dirty="0">
              <a:solidFill>
                <a:srgbClr val="808080">
                  <a:lumMod val="75000"/>
                </a:srgbClr>
              </a:solidFill>
              <a:sym typeface="Arial" pitchFamily="34" charset="0"/>
            </a:endParaRPr>
          </a:p>
        </p:txBody>
      </p:sp>
      <p:sp>
        <p:nvSpPr>
          <p:cNvPr id="488" name="TextBox 222"/>
          <p:cNvSpPr txBox="1">
            <a:spLocks noChangeArrowheads="1"/>
          </p:cNvSpPr>
          <p:nvPr>
            <p:custDataLst>
              <p:tags r:id="rId10"/>
            </p:custDataLst>
          </p:nvPr>
        </p:nvSpPr>
        <p:spPr bwMode="auto">
          <a:xfrm>
            <a:off x="6228184" y="2133840"/>
            <a:ext cx="736346" cy="275842"/>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Russia</a:t>
            </a:r>
            <a:endParaRPr lang="ru-RU" sz="900" b="1" kern="0" dirty="0">
              <a:solidFill>
                <a:srgbClr val="808080">
                  <a:lumMod val="75000"/>
                </a:srgbClr>
              </a:solidFill>
              <a:sym typeface="Arial" pitchFamily="34" charset="0"/>
            </a:endParaRPr>
          </a:p>
        </p:txBody>
      </p:sp>
      <p:sp>
        <p:nvSpPr>
          <p:cNvPr id="489" name="TextBox 222"/>
          <p:cNvSpPr txBox="1">
            <a:spLocks noChangeArrowheads="1"/>
          </p:cNvSpPr>
          <p:nvPr>
            <p:custDataLst>
              <p:tags r:id="rId11"/>
            </p:custDataLst>
          </p:nvPr>
        </p:nvSpPr>
        <p:spPr bwMode="auto">
          <a:xfrm>
            <a:off x="4470333" y="3004610"/>
            <a:ext cx="780167" cy="275842"/>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Ukraine</a:t>
            </a:r>
            <a:endParaRPr lang="ru-RU" sz="900" b="1" kern="0" dirty="0">
              <a:solidFill>
                <a:srgbClr val="808080">
                  <a:lumMod val="75000"/>
                </a:srgbClr>
              </a:solidFill>
              <a:sym typeface="Arial" pitchFamily="34" charset="0"/>
            </a:endParaRPr>
          </a:p>
        </p:txBody>
      </p:sp>
      <p:sp>
        <p:nvSpPr>
          <p:cNvPr id="490" name="TextBox 222"/>
          <p:cNvSpPr txBox="1">
            <a:spLocks noChangeArrowheads="1"/>
          </p:cNvSpPr>
          <p:nvPr>
            <p:custDataLst>
              <p:tags r:id="rId12"/>
            </p:custDataLst>
          </p:nvPr>
        </p:nvSpPr>
        <p:spPr bwMode="auto">
          <a:xfrm>
            <a:off x="3329774" y="3290355"/>
            <a:ext cx="1007264" cy="275842"/>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Slovakia</a:t>
            </a:r>
            <a:endParaRPr lang="ru-RU" sz="900" b="1" kern="0" dirty="0">
              <a:solidFill>
                <a:srgbClr val="808080">
                  <a:lumMod val="75000"/>
                </a:srgbClr>
              </a:solidFill>
              <a:sym typeface="Arial" pitchFamily="34" charset="0"/>
            </a:endParaRPr>
          </a:p>
        </p:txBody>
      </p:sp>
      <p:sp>
        <p:nvSpPr>
          <p:cNvPr id="491" name="TextBox 222"/>
          <p:cNvSpPr txBox="1">
            <a:spLocks noChangeArrowheads="1"/>
          </p:cNvSpPr>
          <p:nvPr>
            <p:custDataLst>
              <p:tags r:id="rId13"/>
            </p:custDataLst>
          </p:nvPr>
        </p:nvSpPr>
        <p:spPr bwMode="auto">
          <a:xfrm>
            <a:off x="2612159" y="2730361"/>
            <a:ext cx="807602" cy="438998"/>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Czech</a:t>
            </a:r>
            <a:br>
              <a:rPr lang="en-US" sz="900" b="1" kern="0" dirty="0">
                <a:solidFill>
                  <a:srgbClr val="808080">
                    <a:lumMod val="75000"/>
                  </a:srgbClr>
                </a:solidFill>
                <a:sym typeface="Arial" pitchFamily="34" charset="0"/>
              </a:rPr>
            </a:br>
            <a:r>
              <a:rPr lang="en-US" sz="900" b="1" kern="0" dirty="0">
                <a:solidFill>
                  <a:srgbClr val="808080">
                    <a:lumMod val="75000"/>
                  </a:srgbClr>
                </a:solidFill>
                <a:sym typeface="Arial" pitchFamily="34" charset="0"/>
              </a:rPr>
              <a:t>Republic</a:t>
            </a:r>
            <a:endParaRPr lang="ru-RU" sz="900" b="1" kern="0" dirty="0">
              <a:solidFill>
                <a:srgbClr val="808080">
                  <a:lumMod val="75000"/>
                </a:srgbClr>
              </a:solidFill>
              <a:sym typeface="Arial" pitchFamily="34" charset="0"/>
            </a:endParaRPr>
          </a:p>
        </p:txBody>
      </p:sp>
      <p:sp>
        <p:nvSpPr>
          <p:cNvPr id="492" name="TextBox 222"/>
          <p:cNvSpPr txBox="1">
            <a:spLocks noChangeArrowheads="1"/>
          </p:cNvSpPr>
          <p:nvPr>
            <p:custDataLst>
              <p:tags r:id="rId14"/>
            </p:custDataLst>
          </p:nvPr>
        </p:nvSpPr>
        <p:spPr bwMode="auto">
          <a:xfrm>
            <a:off x="3869844" y="3857625"/>
            <a:ext cx="990188" cy="275842"/>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Bulgaria</a:t>
            </a:r>
            <a:endParaRPr lang="ru-RU" sz="900" b="1" kern="0" dirty="0">
              <a:solidFill>
                <a:srgbClr val="808080">
                  <a:lumMod val="75000"/>
                </a:srgbClr>
              </a:solidFill>
              <a:sym typeface="Arial" pitchFamily="34" charset="0"/>
            </a:endParaRPr>
          </a:p>
        </p:txBody>
      </p:sp>
      <p:sp>
        <p:nvSpPr>
          <p:cNvPr id="493" name="TextBox 222"/>
          <p:cNvSpPr txBox="1">
            <a:spLocks noChangeArrowheads="1"/>
          </p:cNvSpPr>
          <p:nvPr>
            <p:custDataLst>
              <p:tags r:id="rId15"/>
            </p:custDataLst>
          </p:nvPr>
        </p:nvSpPr>
        <p:spPr bwMode="auto">
          <a:xfrm>
            <a:off x="5191771" y="3023231"/>
            <a:ext cx="961048" cy="275842"/>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Armenia</a:t>
            </a:r>
            <a:endParaRPr lang="ru-RU" sz="900" b="1" kern="0" dirty="0">
              <a:solidFill>
                <a:srgbClr val="808080">
                  <a:lumMod val="75000"/>
                </a:srgbClr>
              </a:solidFill>
              <a:sym typeface="Arial" pitchFamily="34" charset="0"/>
            </a:endParaRPr>
          </a:p>
        </p:txBody>
      </p:sp>
      <p:sp>
        <p:nvSpPr>
          <p:cNvPr id="494" name="TextBox 222"/>
          <p:cNvSpPr txBox="1">
            <a:spLocks noChangeArrowheads="1"/>
          </p:cNvSpPr>
          <p:nvPr>
            <p:custDataLst>
              <p:tags r:id="rId16"/>
            </p:custDataLst>
          </p:nvPr>
        </p:nvSpPr>
        <p:spPr bwMode="auto">
          <a:xfrm>
            <a:off x="3145334" y="2310808"/>
            <a:ext cx="813273" cy="275842"/>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Germany</a:t>
            </a:r>
            <a:endParaRPr lang="ru-RU" sz="900" b="1" kern="0" dirty="0">
              <a:solidFill>
                <a:srgbClr val="808080">
                  <a:lumMod val="75000"/>
                </a:srgbClr>
              </a:solidFill>
              <a:sym typeface="Arial" pitchFamily="34" charset="0"/>
            </a:endParaRPr>
          </a:p>
        </p:txBody>
      </p:sp>
      <p:sp>
        <p:nvSpPr>
          <p:cNvPr id="495" name="TextBox 222"/>
          <p:cNvSpPr txBox="1">
            <a:spLocks noChangeArrowheads="1"/>
          </p:cNvSpPr>
          <p:nvPr>
            <p:custDataLst>
              <p:tags r:id="rId17"/>
            </p:custDataLst>
          </p:nvPr>
        </p:nvSpPr>
        <p:spPr bwMode="auto">
          <a:xfrm>
            <a:off x="2771800" y="3912652"/>
            <a:ext cx="835836" cy="275842"/>
          </a:xfrm>
          <a:prstGeom prst="rect">
            <a:avLst/>
          </a:prstGeom>
          <a:noFill/>
          <a:ln w="9525">
            <a:noFill/>
            <a:miter lim="800000"/>
            <a:headEnd/>
            <a:tailEnd/>
          </a:ln>
        </p:spPr>
        <p:txBody>
          <a:bodyPr wrap="square" lIns="94746" tIns="47365" rIns="94746" bIns="47365">
            <a:spAutoFit/>
          </a:bodyPr>
          <a:lstStyle/>
          <a:p>
            <a:pPr algn="r" defTabSz="743568"/>
            <a:r>
              <a:rPr lang="en-US" sz="900" b="1" kern="0" dirty="0">
                <a:solidFill>
                  <a:srgbClr val="808080">
                    <a:lumMod val="75000"/>
                  </a:srgbClr>
                </a:solidFill>
                <a:sym typeface="Arial" pitchFamily="34" charset="0"/>
              </a:rPr>
              <a:t>Hungary</a:t>
            </a:r>
            <a:endParaRPr lang="ru-RU" sz="900" b="1" kern="0" dirty="0">
              <a:solidFill>
                <a:srgbClr val="808080">
                  <a:lumMod val="75000"/>
                </a:srgbClr>
              </a:solidFill>
              <a:sym typeface="Arial" pitchFamily="34" charset="0"/>
            </a:endParaRPr>
          </a:p>
        </p:txBody>
      </p:sp>
      <p:sp>
        <p:nvSpPr>
          <p:cNvPr id="496" name="TextBox 222"/>
          <p:cNvSpPr txBox="1">
            <a:spLocks noChangeArrowheads="1"/>
          </p:cNvSpPr>
          <p:nvPr>
            <p:custDataLst>
              <p:tags r:id="rId18"/>
            </p:custDataLst>
          </p:nvPr>
        </p:nvSpPr>
        <p:spPr bwMode="auto">
          <a:xfrm>
            <a:off x="6561024" y="4364742"/>
            <a:ext cx="962425" cy="234155"/>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Bangladesh</a:t>
            </a:r>
            <a:endParaRPr lang="ru-RU" sz="900" b="1" kern="0" dirty="0">
              <a:solidFill>
                <a:srgbClr val="808080">
                  <a:lumMod val="75000"/>
                </a:srgbClr>
              </a:solidFill>
              <a:sym typeface="Arial" pitchFamily="34" charset="0"/>
            </a:endParaRPr>
          </a:p>
        </p:txBody>
      </p:sp>
      <p:sp>
        <p:nvSpPr>
          <p:cNvPr id="497" name="TextBox 222"/>
          <p:cNvSpPr txBox="1">
            <a:spLocks noChangeArrowheads="1"/>
          </p:cNvSpPr>
          <p:nvPr>
            <p:custDataLst>
              <p:tags r:id="rId19"/>
            </p:custDataLst>
          </p:nvPr>
        </p:nvSpPr>
        <p:spPr bwMode="auto">
          <a:xfrm>
            <a:off x="4646815" y="3490336"/>
            <a:ext cx="822021" cy="275842"/>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Turkey</a:t>
            </a:r>
            <a:endParaRPr lang="ru-RU" sz="900" b="1" kern="0" dirty="0">
              <a:solidFill>
                <a:srgbClr val="808080">
                  <a:lumMod val="75000"/>
                </a:srgbClr>
              </a:solidFill>
              <a:sym typeface="Arial" pitchFamily="34" charset="0"/>
            </a:endParaRPr>
          </a:p>
        </p:txBody>
      </p:sp>
      <p:sp>
        <p:nvSpPr>
          <p:cNvPr id="498" name="TextBox 222"/>
          <p:cNvSpPr txBox="1">
            <a:spLocks noChangeArrowheads="1"/>
          </p:cNvSpPr>
          <p:nvPr>
            <p:custDataLst>
              <p:tags r:id="rId20"/>
            </p:custDataLst>
          </p:nvPr>
        </p:nvSpPr>
        <p:spPr bwMode="auto">
          <a:xfrm>
            <a:off x="3995936" y="2433078"/>
            <a:ext cx="761239" cy="275842"/>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Belarus</a:t>
            </a:r>
            <a:endParaRPr lang="ru-RU" sz="900" b="1" kern="0" dirty="0">
              <a:solidFill>
                <a:srgbClr val="808080">
                  <a:lumMod val="75000"/>
                </a:srgbClr>
              </a:solidFill>
              <a:sym typeface="Arial" pitchFamily="34" charset="0"/>
            </a:endParaRPr>
          </a:p>
        </p:txBody>
      </p:sp>
      <p:sp>
        <p:nvSpPr>
          <p:cNvPr id="499" name="TextBox 222"/>
          <p:cNvSpPr txBox="1">
            <a:spLocks noChangeArrowheads="1"/>
          </p:cNvSpPr>
          <p:nvPr>
            <p:custDataLst>
              <p:tags r:id="rId21"/>
            </p:custDataLst>
          </p:nvPr>
        </p:nvSpPr>
        <p:spPr bwMode="auto">
          <a:xfrm>
            <a:off x="3628098" y="4905125"/>
            <a:ext cx="780167" cy="275842"/>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Nigeria</a:t>
            </a:r>
            <a:endParaRPr lang="ru-RU" sz="900" b="1" kern="0" dirty="0">
              <a:solidFill>
                <a:srgbClr val="808080">
                  <a:lumMod val="75000"/>
                </a:srgbClr>
              </a:solidFill>
              <a:sym typeface="Arial" pitchFamily="34" charset="0"/>
            </a:endParaRPr>
          </a:p>
        </p:txBody>
      </p:sp>
      <p:sp>
        <p:nvSpPr>
          <p:cNvPr id="501" name="Rectangle 31"/>
          <p:cNvSpPr/>
          <p:nvPr/>
        </p:nvSpPr>
        <p:spPr>
          <a:xfrm>
            <a:off x="363730" y="3632324"/>
            <a:ext cx="2460178" cy="509880"/>
          </a:xfrm>
          <a:prstGeom prst="rect">
            <a:avLst/>
          </a:prstGeom>
        </p:spPr>
        <p:txBody>
          <a:bodyPr wrap="square" anchor="ctr">
            <a:noAutofit/>
          </a:bodyPr>
          <a:lstStyle/>
          <a:p>
            <a:pPr defTabSz="914400">
              <a:defRPr/>
            </a:pPr>
            <a:r>
              <a:rPr lang="en-US" sz="1200" b="1" kern="0" cap="all" dirty="0">
                <a:solidFill>
                  <a:srgbClr val="025EA1"/>
                </a:solidFill>
                <a:ea typeface="Tahoma" pitchFamily="34" charset="0"/>
                <a:cs typeface="Tahoma" pitchFamily="34" charset="0"/>
              </a:rPr>
              <a:t>Rosatom Success Story:</a:t>
            </a:r>
          </a:p>
        </p:txBody>
      </p:sp>
      <p:grpSp>
        <p:nvGrpSpPr>
          <p:cNvPr id="478" name="Группа 477"/>
          <p:cNvGrpSpPr/>
          <p:nvPr/>
        </p:nvGrpSpPr>
        <p:grpSpPr>
          <a:xfrm>
            <a:off x="5566808" y="3547156"/>
            <a:ext cx="370491" cy="230012"/>
            <a:chOff x="5105328" y="5742983"/>
            <a:chExt cx="321289" cy="195251"/>
          </a:xfrm>
        </p:grpSpPr>
        <p:sp>
          <p:nvSpPr>
            <p:cNvPr id="479" name="Rectangle 3"/>
            <p:cNvSpPr/>
            <p:nvPr/>
          </p:nvSpPr>
          <p:spPr>
            <a:xfrm>
              <a:off x="5170886" y="5742983"/>
              <a:ext cx="195741" cy="195251"/>
            </a:xfrm>
            <a:prstGeom prst="ellipse">
              <a:avLst/>
            </a:prstGeom>
            <a:solidFill>
              <a:srgbClr val="92D050"/>
            </a:solidFill>
            <a:ln w="25400" cap="flat" cmpd="sng" algn="ctr">
              <a:noFill/>
              <a:prstDash val="solid"/>
            </a:ln>
            <a:effectLst/>
          </p:spPr>
          <p:txBody>
            <a:bodyPr rtlCol="0" anchor="ctr"/>
            <a:lstStyle/>
            <a:p>
              <a:pPr algn="ctr" defTabSz="914400"/>
              <a:endParaRPr lang="en-US" kern="0">
                <a:solidFill>
                  <a:srgbClr val="F6F8F8"/>
                </a:solidFill>
                <a:latin typeface="Calibri"/>
              </a:endParaRPr>
            </a:p>
          </p:txBody>
        </p:sp>
        <p:sp>
          <p:nvSpPr>
            <p:cNvPr id="480" name="Title 1"/>
            <p:cNvSpPr txBox="1">
              <a:spLocks/>
            </p:cNvSpPr>
            <p:nvPr/>
          </p:nvSpPr>
          <p:spPr>
            <a:xfrm>
              <a:off x="5105328" y="5756604"/>
              <a:ext cx="321289" cy="17135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0" kern="1200">
                  <a:solidFill>
                    <a:schemeClr val="tx1"/>
                  </a:solidFill>
                  <a:latin typeface="+mj-lt"/>
                  <a:ea typeface="+mj-ea"/>
                  <a:cs typeface="+mj-cs"/>
                </a:defRPr>
              </a:lvl1pPr>
            </a:lstStyle>
            <a:p>
              <a:pPr algn="ctr">
                <a:defRPr/>
              </a:pPr>
              <a:r>
                <a:rPr lang="en-US" sz="1000" b="1" dirty="0">
                  <a:solidFill>
                    <a:srgbClr val="FFFFFF"/>
                  </a:solidFill>
                  <a:latin typeface="Calibri"/>
                </a:rPr>
                <a:t>2</a:t>
              </a:r>
            </a:p>
          </p:txBody>
        </p:sp>
      </p:grpSp>
      <p:cxnSp>
        <p:nvCxnSpPr>
          <p:cNvPr id="481" name="Прямая соединительная линия 480"/>
          <p:cNvCxnSpPr/>
          <p:nvPr/>
        </p:nvCxnSpPr>
        <p:spPr>
          <a:xfrm flipH="1">
            <a:off x="5909775" y="3564595"/>
            <a:ext cx="172797" cy="114573"/>
          </a:xfrm>
          <a:prstGeom prst="line">
            <a:avLst/>
          </a:prstGeom>
          <a:ln w="9525">
            <a:solidFill>
              <a:srgbClr val="0070C0"/>
            </a:solidFill>
            <a:tailEnd type="oval"/>
          </a:ln>
        </p:spPr>
        <p:style>
          <a:lnRef idx="1">
            <a:schemeClr val="accent1"/>
          </a:lnRef>
          <a:fillRef idx="0">
            <a:schemeClr val="accent1"/>
          </a:fillRef>
          <a:effectRef idx="0">
            <a:schemeClr val="accent1"/>
          </a:effectRef>
          <a:fontRef idx="minor">
            <a:schemeClr val="tx1"/>
          </a:fontRef>
        </p:style>
      </p:cxnSp>
      <p:cxnSp>
        <p:nvCxnSpPr>
          <p:cNvPr id="502" name="Прямая соединительная линия 501"/>
          <p:cNvCxnSpPr/>
          <p:nvPr/>
        </p:nvCxnSpPr>
        <p:spPr>
          <a:xfrm>
            <a:off x="6080414" y="3567203"/>
            <a:ext cx="675236" cy="0"/>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sp>
        <p:nvSpPr>
          <p:cNvPr id="503" name="TextBox 222"/>
          <p:cNvSpPr txBox="1">
            <a:spLocks noChangeArrowheads="1"/>
          </p:cNvSpPr>
          <p:nvPr>
            <p:custDataLst>
              <p:tags r:id="rId22"/>
            </p:custDataLst>
          </p:nvPr>
        </p:nvSpPr>
        <p:spPr bwMode="auto">
          <a:xfrm>
            <a:off x="5972624" y="3363769"/>
            <a:ext cx="1007264" cy="234155"/>
          </a:xfrm>
          <a:prstGeom prst="rect">
            <a:avLst/>
          </a:prstGeom>
          <a:noFill/>
          <a:ln w="9525">
            <a:noFill/>
            <a:miter lim="800000"/>
            <a:headEnd/>
            <a:tailEnd/>
          </a:ln>
        </p:spPr>
        <p:txBody>
          <a:bodyPr wrap="square" lIns="94746" tIns="47365" rIns="94746" bIns="47365">
            <a:spAutoFit/>
          </a:bodyPr>
          <a:lstStyle/>
          <a:p>
            <a:pPr algn="ctr" defTabSz="743568"/>
            <a:r>
              <a:rPr lang="en-US" sz="900" b="1" kern="0" dirty="0">
                <a:solidFill>
                  <a:srgbClr val="808080">
                    <a:lumMod val="75000"/>
                  </a:srgbClr>
                </a:solidFill>
                <a:sym typeface="Arial" pitchFamily="34" charset="0"/>
              </a:rPr>
              <a:t>Uzbekistan</a:t>
            </a:r>
            <a:endParaRPr lang="ru-RU" sz="900" b="1" kern="0" dirty="0">
              <a:solidFill>
                <a:srgbClr val="808080">
                  <a:lumMod val="75000"/>
                </a:srgbClr>
              </a:solidFill>
              <a:sym typeface="Arial" pitchFamily="34" charset="0"/>
            </a:endParaRPr>
          </a:p>
        </p:txBody>
      </p:sp>
    </p:spTree>
    <p:extLst>
      <p:ext uri="{BB962C8B-B14F-4D97-AF65-F5344CB8AC3E}">
        <p14:creationId xmlns:p14="http://schemas.microsoft.com/office/powerpoint/2010/main" val="34970893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Пятиугольник 89"/>
          <p:cNvSpPr/>
          <p:nvPr/>
        </p:nvSpPr>
        <p:spPr>
          <a:xfrm>
            <a:off x="-187273" y="1050982"/>
            <a:ext cx="9725640" cy="590929"/>
          </a:xfrm>
          <a:prstGeom prst="homePlate">
            <a:avLst>
              <a:gd name="adj" fmla="val 40105"/>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endParaRPr lang="en-US" dirty="0"/>
          </a:p>
        </p:txBody>
      </p:sp>
      <p:sp>
        <p:nvSpPr>
          <p:cNvPr id="61" name="Line Callout 1 (Accent Bar) 60"/>
          <p:cNvSpPr/>
          <p:nvPr/>
        </p:nvSpPr>
        <p:spPr>
          <a:xfrm rot="5400000">
            <a:off x="7673779" y="4599850"/>
            <a:ext cx="257369" cy="788404"/>
          </a:xfrm>
          <a:prstGeom prst="accentCallout1">
            <a:avLst>
              <a:gd name="adj1" fmla="val 55290"/>
              <a:gd name="adj2" fmla="val 26908"/>
              <a:gd name="adj3" fmla="val 54885"/>
              <a:gd name="adj4" fmla="val -426141"/>
            </a:avLst>
          </a:prstGeom>
          <a:noFill/>
          <a:ln w="19050">
            <a:solidFill>
              <a:schemeClr val="accent2"/>
            </a:solidFill>
            <a:round/>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36000" tIns="0" rIns="36000" bIns="0" rtlCol="0" anchor="ctr">
            <a:spAutoFit/>
          </a:bodyPr>
          <a:lstStyle/>
          <a:p>
            <a:pPr lvl="0" algn="ctr">
              <a:spcAft>
                <a:spcPts val="1800"/>
              </a:spcAft>
            </a:pPr>
            <a:r>
              <a:rPr lang="en-US" sz="1200" b="1" spc="10" dirty="0" err="1">
                <a:solidFill>
                  <a:schemeClr val="tx2"/>
                </a:solidFill>
              </a:rPr>
              <a:t>Tianwan</a:t>
            </a:r>
            <a:r>
              <a:rPr lang="en-US" sz="1200" b="1" spc="10" dirty="0">
                <a:solidFill>
                  <a:schemeClr val="tx2"/>
                </a:solidFill>
              </a:rPr>
              <a:t> 3</a:t>
            </a:r>
            <a:endParaRPr lang="ru-RU" sz="1200" b="1" spc="10" dirty="0">
              <a:solidFill>
                <a:schemeClr val="tx2"/>
              </a:solidFill>
            </a:endParaRPr>
          </a:p>
        </p:txBody>
      </p:sp>
      <p:graphicFrame>
        <p:nvGraphicFramePr>
          <p:cNvPr id="72711" name="Object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349" name="think-cell Slide" r:id="rId6" imgW="360" imgH="360" progId="">
                  <p:embed/>
                </p:oleObj>
              </mc:Choice>
              <mc:Fallback>
                <p:oleObj name="think-cell Slide" r:id="rId6" imgW="360" imgH="360" progId="">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2712" name="Rectangle 3" hidden="1"/>
          <p:cNvSpPr>
            <a:spLocks noChangeArrowheads="1"/>
          </p:cNvSpPr>
          <p:nvPr>
            <p:custDataLst>
              <p:tags r:id="rId3"/>
            </p:custDataLst>
          </p:nvPr>
        </p:nvSpPr>
        <p:spPr bwMode="auto">
          <a:xfrm>
            <a:off x="0" y="0"/>
            <a:ext cx="146050" cy="158750"/>
          </a:xfrm>
          <a:prstGeom prst="rect">
            <a:avLst/>
          </a:prstGeom>
          <a:solidFill>
            <a:schemeClr val="accent1"/>
          </a:solidFill>
          <a:ln w="25400" algn="ctr">
            <a:solidFill>
              <a:srgbClr val="B35A03"/>
            </a:solidFill>
            <a:miter lim="800000"/>
            <a:headEnd/>
            <a:tailEnd/>
          </a:ln>
        </p:spPr>
        <p:txBody>
          <a:bodyPr wrap="none" lIns="0" tIns="0" rIns="0" bIns="0" anchor="ctr"/>
          <a:lstStyle/>
          <a:p>
            <a:pPr algn="ctr" defTabSz="743568"/>
            <a:endParaRPr lang="en-US" sz="1200" kern="0" dirty="0">
              <a:solidFill>
                <a:srgbClr val="FFFFFF"/>
              </a:solidFill>
              <a:sym typeface="Arial" pitchFamily="34" charset="0"/>
            </a:endParaRPr>
          </a:p>
        </p:txBody>
      </p:sp>
      <p:sp>
        <p:nvSpPr>
          <p:cNvPr id="251" name="Заголовок 7"/>
          <p:cNvSpPr txBox="1">
            <a:spLocks/>
          </p:cNvSpPr>
          <p:nvPr/>
        </p:nvSpPr>
        <p:spPr bwMode="auto">
          <a:xfrm>
            <a:off x="395288" y="8696"/>
            <a:ext cx="7705358"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lnSpc>
                <a:spcPct val="90000"/>
              </a:lnSpc>
              <a:spcBef>
                <a:spcPct val="0"/>
              </a:spcBef>
              <a:spcAft>
                <a:spcPct val="0"/>
              </a:spcAft>
              <a:defRPr sz="2000" b="1">
                <a:solidFill>
                  <a:schemeClr val="tx2"/>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cs typeface="Arial" charset="0"/>
              </a:defRPr>
            </a:lvl2pPr>
            <a:lvl3pPr algn="l" rtl="0" eaLnBrk="0" fontAlgn="base" hangingPunct="0">
              <a:spcBef>
                <a:spcPct val="0"/>
              </a:spcBef>
              <a:spcAft>
                <a:spcPct val="0"/>
              </a:spcAft>
              <a:defRPr sz="2000" b="1">
                <a:solidFill>
                  <a:schemeClr val="hlink"/>
                </a:solidFill>
                <a:latin typeface="Arial" charset="0"/>
                <a:cs typeface="Arial" charset="0"/>
              </a:defRPr>
            </a:lvl3pPr>
            <a:lvl4pPr algn="l" rtl="0" eaLnBrk="0" fontAlgn="base" hangingPunct="0">
              <a:spcBef>
                <a:spcPct val="0"/>
              </a:spcBef>
              <a:spcAft>
                <a:spcPct val="0"/>
              </a:spcAft>
              <a:defRPr sz="2000" b="1">
                <a:solidFill>
                  <a:schemeClr val="hlink"/>
                </a:solidFill>
                <a:latin typeface="Arial" charset="0"/>
                <a:cs typeface="Arial" charset="0"/>
              </a:defRPr>
            </a:lvl4pPr>
            <a:lvl5pPr algn="l" rtl="0" eaLnBrk="0" fontAlgn="base" hangingPunct="0">
              <a:spcBef>
                <a:spcPct val="0"/>
              </a:spcBef>
              <a:spcAft>
                <a:spcPct val="0"/>
              </a:spcAft>
              <a:defRPr sz="2000" b="1">
                <a:solidFill>
                  <a:schemeClr val="hlink"/>
                </a:solidFill>
                <a:latin typeface="Arial" charset="0"/>
                <a:cs typeface="Arial" charset="0"/>
              </a:defRPr>
            </a:lvl5pPr>
            <a:lvl6pPr marL="443219" algn="l" rtl="0" fontAlgn="base">
              <a:spcBef>
                <a:spcPct val="0"/>
              </a:spcBef>
              <a:spcAft>
                <a:spcPct val="0"/>
              </a:spcAft>
              <a:defRPr sz="2000" b="1">
                <a:solidFill>
                  <a:schemeClr val="hlink"/>
                </a:solidFill>
                <a:latin typeface="Arial" charset="0"/>
                <a:cs typeface="Arial" charset="0"/>
              </a:defRPr>
            </a:lvl6pPr>
            <a:lvl7pPr marL="886491" algn="l" rtl="0" fontAlgn="base">
              <a:spcBef>
                <a:spcPct val="0"/>
              </a:spcBef>
              <a:spcAft>
                <a:spcPct val="0"/>
              </a:spcAft>
              <a:defRPr sz="2000" b="1">
                <a:solidFill>
                  <a:schemeClr val="hlink"/>
                </a:solidFill>
                <a:latin typeface="Arial" charset="0"/>
                <a:cs typeface="Arial" charset="0"/>
              </a:defRPr>
            </a:lvl7pPr>
            <a:lvl8pPr marL="1329757" algn="l" rtl="0" fontAlgn="base">
              <a:spcBef>
                <a:spcPct val="0"/>
              </a:spcBef>
              <a:spcAft>
                <a:spcPct val="0"/>
              </a:spcAft>
              <a:defRPr sz="2000" b="1">
                <a:solidFill>
                  <a:schemeClr val="hlink"/>
                </a:solidFill>
                <a:latin typeface="Arial" charset="0"/>
                <a:cs typeface="Arial" charset="0"/>
              </a:defRPr>
            </a:lvl8pPr>
            <a:lvl9pPr marL="1772998" algn="l" rtl="0" fontAlgn="base">
              <a:spcBef>
                <a:spcPct val="0"/>
              </a:spcBef>
              <a:spcAft>
                <a:spcPct val="0"/>
              </a:spcAft>
              <a:defRPr sz="2000" b="1">
                <a:solidFill>
                  <a:schemeClr val="hlink"/>
                </a:solidFill>
                <a:latin typeface="Arial" charset="0"/>
                <a:cs typeface="Arial" charset="0"/>
              </a:defRPr>
            </a:lvl9pPr>
          </a:lstStyle>
          <a:p>
            <a:pPr defTabSz="771014"/>
            <a:r>
              <a:rPr lang="en-US" kern="0" spc="30" dirty="0">
                <a:latin typeface="Arial" panose="020B0604020202020204" pitchFamily="34" charset="0"/>
                <a:sym typeface="Arial" pitchFamily="34" charset="0"/>
              </a:rPr>
              <a:t>ROSATOM: THE ONLY COMPANY IMPLEMENTING </a:t>
            </a:r>
            <a:br>
              <a:rPr lang="en-US" kern="0" spc="30" dirty="0">
                <a:latin typeface="Arial" panose="020B0604020202020204" pitchFamily="34" charset="0"/>
                <a:sym typeface="Arial" pitchFamily="34" charset="0"/>
              </a:rPr>
            </a:br>
            <a:r>
              <a:rPr lang="en-US" kern="0" spc="30" dirty="0">
                <a:latin typeface="Arial" panose="020B0604020202020204" pitchFamily="34" charset="0"/>
                <a:sym typeface="Arial" pitchFamily="34" charset="0"/>
              </a:rPr>
              <a:t>SERIAL NPP CONSTRUCTION</a:t>
            </a:r>
            <a:r>
              <a:rPr lang="ru-RU" kern="0" spc="30" dirty="0">
                <a:latin typeface="Arial" panose="020B0604020202020204" pitchFamily="34" charset="0"/>
                <a:sym typeface="Arial" pitchFamily="34" charset="0"/>
              </a:rPr>
              <a:t> </a:t>
            </a:r>
            <a:r>
              <a:rPr lang="en-US" kern="0" spc="30" dirty="0">
                <a:latin typeface="Arial" panose="020B0604020202020204" pitchFamily="34" charset="0"/>
                <a:sym typeface="Arial" pitchFamily="34" charset="0"/>
              </a:rPr>
              <a:t>DOMESTIC AND ABROAD</a:t>
            </a:r>
          </a:p>
        </p:txBody>
      </p:sp>
      <p:cxnSp>
        <p:nvCxnSpPr>
          <p:cNvPr id="15" name="Straight Connector 14"/>
          <p:cNvCxnSpPr/>
          <p:nvPr/>
        </p:nvCxnSpPr>
        <p:spPr>
          <a:xfrm>
            <a:off x="293548" y="3789040"/>
            <a:ext cx="8496944" cy="0"/>
          </a:xfrm>
          <a:prstGeom prst="line">
            <a:avLst/>
          </a:prstGeom>
          <a:ln w="19050">
            <a:solidFill>
              <a:srgbClr val="003272"/>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38" name="Line Callout 1 (Accent Bar) 237"/>
          <p:cNvSpPr/>
          <p:nvPr/>
        </p:nvSpPr>
        <p:spPr>
          <a:xfrm rot="5400000">
            <a:off x="884944" y="4046488"/>
            <a:ext cx="257369" cy="864097"/>
          </a:xfrm>
          <a:prstGeom prst="accentCallout1">
            <a:avLst>
              <a:gd name="adj1" fmla="val 49555"/>
              <a:gd name="adj2" fmla="val -174"/>
              <a:gd name="adj3" fmla="val 18305"/>
              <a:gd name="adj4" fmla="val -176733"/>
            </a:avLst>
          </a:prstGeom>
          <a:noFill/>
          <a:ln w="19050">
            <a:solidFill>
              <a:srgbClr val="35C7AC"/>
            </a:solidFill>
            <a:round/>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36000" tIns="0" rIns="36000" bIns="0" rtlCol="0" anchor="ctr">
            <a:spAutoFit/>
          </a:bodyPr>
          <a:lstStyle/>
          <a:p>
            <a:pPr lvl="0" algn="ctr">
              <a:spcAft>
                <a:spcPts val="1800"/>
              </a:spcAft>
            </a:pPr>
            <a:r>
              <a:rPr lang="en-US" sz="1200" b="1" spc="10" dirty="0" err="1">
                <a:solidFill>
                  <a:schemeClr val="tx2"/>
                </a:solidFill>
              </a:rPr>
              <a:t>Tianwan</a:t>
            </a:r>
            <a:r>
              <a:rPr lang="en-US" sz="1200" b="1" spc="10" dirty="0">
                <a:solidFill>
                  <a:schemeClr val="tx2"/>
                </a:solidFill>
              </a:rPr>
              <a:t> 2</a:t>
            </a:r>
          </a:p>
        </p:txBody>
      </p:sp>
      <p:sp>
        <p:nvSpPr>
          <p:cNvPr id="239" name="Line Callout 1 (Accent Bar) 238"/>
          <p:cNvSpPr/>
          <p:nvPr/>
        </p:nvSpPr>
        <p:spPr>
          <a:xfrm rot="16200000">
            <a:off x="2397237" y="2750219"/>
            <a:ext cx="257369" cy="864345"/>
          </a:xfrm>
          <a:prstGeom prst="accentCallout1">
            <a:avLst>
              <a:gd name="adj1" fmla="val 49187"/>
              <a:gd name="adj2" fmla="val -274"/>
              <a:gd name="adj3" fmla="val 69443"/>
              <a:gd name="adj4" fmla="val -138854"/>
            </a:avLst>
          </a:prstGeom>
          <a:noFill/>
          <a:ln w="19050">
            <a:solidFill>
              <a:srgbClr val="003272"/>
            </a:solidFill>
            <a:round/>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36000" tIns="0" rIns="36000" bIns="0" rtlCol="0" anchor="ctr">
            <a:spAutoFit/>
          </a:bodyPr>
          <a:lstStyle/>
          <a:p>
            <a:pPr lvl="0" algn="ctr">
              <a:spcAft>
                <a:spcPts val="1800"/>
              </a:spcAft>
            </a:pPr>
            <a:r>
              <a:rPr lang="en-US" sz="1200" b="1" spc="10" dirty="0">
                <a:solidFill>
                  <a:schemeClr val="tx2"/>
                </a:solidFill>
              </a:rPr>
              <a:t>Rostov 2</a:t>
            </a:r>
          </a:p>
        </p:txBody>
      </p:sp>
      <p:sp>
        <p:nvSpPr>
          <p:cNvPr id="241" name="Line Callout 1 (Accent Bar) 240"/>
          <p:cNvSpPr/>
          <p:nvPr/>
        </p:nvSpPr>
        <p:spPr>
          <a:xfrm rot="5400000">
            <a:off x="3027483" y="4100053"/>
            <a:ext cx="257369" cy="756968"/>
          </a:xfrm>
          <a:prstGeom prst="accentCallout1">
            <a:avLst>
              <a:gd name="adj1" fmla="val 50517"/>
              <a:gd name="adj2" fmla="val -2307"/>
              <a:gd name="adj3" fmla="val 16608"/>
              <a:gd name="adj4" fmla="val -169260"/>
            </a:avLst>
          </a:prstGeom>
          <a:noFill/>
          <a:ln w="19050">
            <a:solidFill>
              <a:schemeClr val="accent2"/>
            </a:solidFill>
            <a:round/>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36000" tIns="0" rIns="36000" bIns="0" rtlCol="0" anchor="ctr">
            <a:spAutoFit/>
          </a:bodyPr>
          <a:lstStyle/>
          <a:p>
            <a:pPr lvl="0" algn="ctr">
              <a:spcAft>
                <a:spcPts val="1800"/>
              </a:spcAft>
            </a:pPr>
            <a:r>
              <a:rPr lang="en-US" sz="1200" b="1" spc="10" dirty="0" err="1">
                <a:solidFill>
                  <a:schemeClr val="tx2"/>
                </a:solidFill>
              </a:rPr>
              <a:t>Busher</a:t>
            </a:r>
            <a:r>
              <a:rPr lang="en-US" sz="1200" b="1" spc="10" dirty="0">
                <a:solidFill>
                  <a:schemeClr val="tx2"/>
                </a:solidFill>
              </a:rPr>
              <a:t> 1</a:t>
            </a:r>
          </a:p>
        </p:txBody>
      </p:sp>
      <p:sp>
        <p:nvSpPr>
          <p:cNvPr id="242" name="Line Callout 1 (Accent Bar) 241"/>
          <p:cNvSpPr/>
          <p:nvPr/>
        </p:nvSpPr>
        <p:spPr>
          <a:xfrm rot="16200000">
            <a:off x="3940930" y="2743904"/>
            <a:ext cx="257369" cy="824658"/>
          </a:xfrm>
          <a:prstGeom prst="accentCallout1">
            <a:avLst>
              <a:gd name="adj1" fmla="val 48638"/>
              <a:gd name="adj2" fmla="val 556"/>
              <a:gd name="adj3" fmla="val 75199"/>
              <a:gd name="adj4" fmla="val -141958"/>
            </a:avLst>
          </a:prstGeom>
          <a:noFill/>
          <a:ln w="19050">
            <a:solidFill>
              <a:srgbClr val="003272"/>
            </a:solidFill>
            <a:round/>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36000" tIns="0" rIns="36000" bIns="0" rtlCol="0" anchor="ctr">
            <a:spAutoFit/>
          </a:bodyPr>
          <a:lstStyle/>
          <a:p>
            <a:pPr lvl="0" algn="ctr">
              <a:spcAft>
                <a:spcPts val="1800"/>
              </a:spcAft>
            </a:pPr>
            <a:r>
              <a:rPr lang="en-US" sz="1200" b="1" spc="10" dirty="0">
                <a:solidFill>
                  <a:schemeClr val="tx2"/>
                </a:solidFill>
              </a:rPr>
              <a:t>Kalinin </a:t>
            </a:r>
            <a:r>
              <a:rPr lang="ru-RU" sz="1200" b="1" spc="10" dirty="0">
                <a:solidFill>
                  <a:schemeClr val="tx2"/>
                </a:solidFill>
              </a:rPr>
              <a:t>4</a:t>
            </a:r>
            <a:endParaRPr lang="en-US" sz="1200" b="1" spc="10" dirty="0">
              <a:solidFill>
                <a:schemeClr val="tx2"/>
              </a:solidFill>
            </a:endParaRPr>
          </a:p>
        </p:txBody>
      </p:sp>
      <p:sp>
        <p:nvSpPr>
          <p:cNvPr id="243" name="Line Callout 1 (Accent Bar) 242"/>
          <p:cNvSpPr/>
          <p:nvPr/>
        </p:nvSpPr>
        <p:spPr>
          <a:xfrm rot="5400000">
            <a:off x="4615874" y="3915957"/>
            <a:ext cx="257369" cy="1125158"/>
          </a:xfrm>
          <a:prstGeom prst="accentCallout1">
            <a:avLst>
              <a:gd name="adj1" fmla="val 49555"/>
              <a:gd name="adj2" fmla="val -2307"/>
              <a:gd name="adj3" fmla="val 32863"/>
              <a:gd name="adj4" fmla="val -190608"/>
            </a:avLst>
          </a:prstGeom>
          <a:noFill/>
          <a:ln w="19050">
            <a:solidFill>
              <a:schemeClr val="accent2"/>
            </a:solidFill>
            <a:round/>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36000" tIns="0" rIns="36000" bIns="0" rtlCol="0" anchor="ctr">
            <a:spAutoFit/>
          </a:bodyPr>
          <a:lstStyle/>
          <a:p>
            <a:pPr lvl="0" algn="ctr">
              <a:spcAft>
                <a:spcPts val="1800"/>
              </a:spcAft>
            </a:pPr>
            <a:r>
              <a:rPr lang="en-US" sz="1200" b="1" spc="10" dirty="0" err="1">
                <a:solidFill>
                  <a:schemeClr val="tx2"/>
                </a:solidFill>
              </a:rPr>
              <a:t>Kudankulam</a:t>
            </a:r>
            <a:r>
              <a:rPr lang="en-US" sz="1200" b="1" spc="10" dirty="0">
                <a:solidFill>
                  <a:schemeClr val="tx2"/>
                </a:solidFill>
              </a:rPr>
              <a:t> 1</a:t>
            </a:r>
          </a:p>
        </p:txBody>
      </p:sp>
      <p:sp>
        <p:nvSpPr>
          <p:cNvPr id="244" name="Line Callout 1 (Accent Bar) 243"/>
          <p:cNvSpPr/>
          <p:nvPr/>
        </p:nvSpPr>
        <p:spPr>
          <a:xfrm rot="16200000">
            <a:off x="5457452" y="2714340"/>
            <a:ext cx="257369" cy="936102"/>
          </a:xfrm>
          <a:prstGeom prst="accentCallout1">
            <a:avLst>
              <a:gd name="adj1" fmla="val 49204"/>
              <a:gd name="adj2" fmla="val 556"/>
              <a:gd name="adj3" fmla="val 68690"/>
              <a:gd name="adj4" fmla="val -145161"/>
            </a:avLst>
          </a:prstGeom>
          <a:noFill/>
          <a:ln w="19050">
            <a:solidFill>
              <a:schemeClr val="bg2"/>
            </a:solidFill>
            <a:round/>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36000" tIns="0" rIns="36000" bIns="0" rtlCol="0" anchor="ctr">
            <a:spAutoFit/>
          </a:bodyPr>
          <a:lstStyle/>
          <a:p>
            <a:pPr lvl="0" algn="ctr">
              <a:spcAft>
                <a:spcPts val="1800"/>
              </a:spcAft>
            </a:pPr>
            <a:r>
              <a:rPr lang="en-US" sz="1200" b="1" spc="10" dirty="0">
                <a:solidFill>
                  <a:schemeClr val="tx2"/>
                </a:solidFill>
              </a:rPr>
              <a:t>Rostov 3</a:t>
            </a:r>
          </a:p>
        </p:txBody>
      </p:sp>
      <p:sp>
        <p:nvSpPr>
          <p:cNvPr id="245" name="Line Callout 1 (Accent Bar) 244"/>
          <p:cNvSpPr/>
          <p:nvPr/>
        </p:nvSpPr>
        <p:spPr>
          <a:xfrm rot="5400000">
            <a:off x="6249540" y="4010484"/>
            <a:ext cx="257369" cy="936104"/>
          </a:xfrm>
          <a:prstGeom prst="accentCallout1">
            <a:avLst>
              <a:gd name="adj1" fmla="val 49555"/>
              <a:gd name="adj2" fmla="val 662"/>
              <a:gd name="adj3" fmla="val 37256"/>
              <a:gd name="adj4" fmla="val -186068"/>
            </a:avLst>
          </a:prstGeom>
          <a:noFill/>
          <a:ln w="19050">
            <a:solidFill>
              <a:srgbClr val="003272"/>
            </a:solidFill>
            <a:round/>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36000" tIns="0" rIns="36000" bIns="0" rtlCol="0" anchor="ctr">
            <a:spAutoFit/>
          </a:bodyPr>
          <a:lstStyle/>
          <a:p>
            <a:pPr lvl="0" algn="ctr">
              <a:spcAft>
                <a:spcPts val="1800"/>
              </a:spcAft>
            </a:pPr>
            <a:r>
              <a:rPr lang="en-US" sz="1200" b="1" spc="10" dirty="0" err="1">
                <a:solidFill>
                  <a:schemeClr val="tx2"/>
                </a:solidFill>
              </a:rPr>
              <a:t>Beloyarsk</a:t>
            </a:r>
            <a:r>
              <a:rPr lang="en-US" sz="1200" b="1" spc="10" dirty="0">
                <a:solidFill>
                  <a:schemeClr val="tx2"/>
                </a:solidFill>
              </a:rPr>
              <a:t> 4</a:t>
            </a:r>
            <a:endParaRPr lang="ru-RU" sz="1200" b="1" spc="10" dirty="0">
              <a:solidFill>
                <a:schemeClr val="tx2"/>
              </a:solidFill>
            </a:endParaRPr>
          </a:p>
        </p:txBody>
      </p:sp>
      <p:sp>
        <p:nvSpPr>
          <p:cNvPr id="246" name="Line Callout 1 (Accent Bar) 245"/>
          <p:cNvSpPr/>
          <p:nvPr/>
        </p:nvSpPr>
        <p:spPr>
          <a:xfrm rot="16200000">
            <a:off x="6747381" y="2594504"/>
            <a:ext cx="257369" cy="1175776"/>
          </a:xfrm>
          <a:prstGeom prst="accentCallout1">
            <a:avLst>
              <a:gd name="adj1" fmla="val 49555"/>
              <a:gd name="adj2" fmla="val 556"/>
              <a:gd name="adj3" fmla="val 86143"/>
              <a:gd name="adj4" fmla="val -183593"/>
            </a:avLst>
          </a:prstGeom>
          <a:noFill/>
          <a:ln w="19050">
            <a:solidFill>
              <a:schemeClr val="accent2"/>
            </a:solidFill>
            <a:round/>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36000" tIns="0" rIns="36000" bIns="0" rtlCol="0" anchor="ctr">
            <a:spAutoFit/>
          </a:bodyPr>
          <a:lstStyle/>
          <a:p>
            <a:pPr lvl="0" algn="ctr">
              <a:spcAft>
                <a:spcPts val="1800"/>
              </a:spcAft>
            </a:pPr>
            <a:r>
              <a:rPr lang="en-US" sz="1200" b="1" spc="10" dirty="0" err="1">
                <a:solidFill>
                  <a:schemeClr val="tx2"/>
                </a:solidFill>
              </a:rPr>
              <a:t>Kudankulam</a:t>
            </a:r>
            <a:r>
              <a:rPr lang="en-US" sz="1200" b="1" spc="10" dirty="0">
                <a:solidFill>
                  <a:schemeClr val="tx2"/>
                </a:solidFill>
              </a:rPr>
              <a:t> 2</a:t>
            </a:r>
          </a:p>
        </p:txBody>
      </p:sp>
      <p:sp>
        <p:nvSpPr>
          <p:cNvPr id="247" name="Line Callout 1 (Accent Bar) 246"/>
          <p:cNvSpPr/>
          <p:nvPr/>
        </p:nvSpPr>
        <p:spPr>
          <a:xfrm rot="5400000">
            <a:off x="6717592" y="4830623"/>
            <a:ext cx="257369" cy="1223064"/>
          </a:xfrm>
          <a:prstGeom prst="accentCallout1">
            <a:avLst>
              <a:gd name="adj1" fmla="val 50032"/>
              <a:gd name="adj2" fmla="val 662"/>
              <a:gd name="adj3" fmla="val 16245"/>
              <a:gd name="adj4" fmla="val -605072"/>
            </a:avLst>
          </a:prstGeom>
          <a:noFill/>
          <a:ln w="19050">
            <a:solidFill>
              <a:srgbClr val="003272"/>
            </a:solidFill>
            <a:round/>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36000" tIns="0" rIns="36000" bIns="0" rtlCol="0" anchor="ctr">
            <a:spAutoFit/>
          </a:bodyPr>
          <a:lstStyle/>
          <a:p>
            <a:pPr lvl="0" algn="ctr">
              <a:spcAft>
                <a:spcPts val="1800"/>
              </a:spcAft>
            </a:pPr>
            <a:r>
              <a:rPr lang="en-US" sz="1200" b="1" spc="10" dirty="0" err="1">
                <a:solidFill>
                  <a:schemeClr val="tx2"/>
                </a:solidFill>
              </a:rPr>
              <a:t>Novovoronezh</a:t>
            </a:r>
            <a:r>
              <a:rPr lang="en-US" sz="1200" b="1" spc="10" dirty="0">
                <a:solidFill>
                  <a:schemeClr val="tx2"/>
                </a:solidFill>
              </a:rPr>
              <a:t> 6</a:t>
            </a:r>
          </a:p>
        </p:txBody>
      </p:sp>
      <p:sp>
        <p:nvSpPr>
          <p:cNvPr id="253" name="Line Callout 1 (Accent Bar) 252"/>
          <p:cNvSpPr/>
          <p:nvPr/>
        </p:nvSpPr>
        <p:spPr>
          <a:xfrm rot="16200000">
            <a:off x="596912" y="2750207"/>
            <a:ext cx="257369" cy="864095"/>
          </a:xfrm>
          <a:prstGeom prst="accentCallout1">
            <a:avLst>
              <a:gd name="adj1" fmla="val 49187"/>
              <a:gd name="adj2" fmla="val -274"/>
              <a:gd name="adj3" fmla="val 66932"/>
              <a:gd name="adj4" fmla="val -135651"/>
            </a:avLst>
          </a:prstGeom>
          <a:noFill/>
          <a:ln w="19050">
            <a:solidFill>
              <a:schemeClr val="accent2"/>
            </a:solidFill>
            <a:round/>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36000" tIns="0" rIns="36000" bIns="0" rtlCol="0" anchor="ctr">
            <a:spAutoFit/>
          </a:bodyPr>
          <a:lstStyle/>
          <a:p>
            <a:pPr lvl="0" algn="ctr">
              <a:spcAft>
                <a:spcPts val="1800"/>
              </a:spcAft>
            </a:pPr>
            <a:r>
              <a:rPr lang="en-US" sz="1200" b="1" spc="10" dirty="0" err="1">
                <a:solidFill>
                  <a:schemeClr val="tx2"/>
                </a:solidFill>
              </a:rPr>
              <a:t>Tianwan</a:t>
            </a:r>
            <a:r>
              <a:rPr lang="en-US" sz="1200" b="1" spc="10" dirty="0">
                <a:solidFill>
                  <a:schemeClr val="tx2"/>
                </a:solidFill>
              </a:rPr>
              <a:t> 1</a:t>
            </a:r>
          </a:p>
        </p:txBody>
      </p:sp>
      <p:sp>
        <p:nvSpPr>
          <p:cNvPr id="12" name="Oval 11"/>
          <p:cNvSpPr>
            <a:spLocks noChangeAspect="1"/>
          </p:cNvSpPr>
          <p:nvPr/>
        </p:nvSpPr>
        <p:spPr>
          <a:xfrm>
            <a:off x="581580" y="3575758"/>
            <a:ext cx="396000" cy="396000"/>
          </a:xfrm>
          <a:prstGeom prst="ellipse">
            <a:avLst/>
          </a:prstGeom>
          <a:solidFill>
            <a:srgbClr val="003272"/>
          </a:solidFill>
          <a:ln>
            <a:solidFill>
              <a:srgbClr val="003272"/>
            </a:solidFill>
          </a:ln>
        </p:spPr>
        <p:txBody>
          <a:bodyPr wrap="square" lIns="0" tIns="0" rIns="0" bIns="0" rtlCol="0" anchor="ctr">
            <a:noAutofit/>
          </a:bodyPr>
          <a:lstStyle/>
          <a:p>
            <a:pPr algn="ctr"/>
            <a:r>
              <a:rPr lang="en-US" sz="1000" dirty="0">
                <a:solidFill>
                  <a:schemeClr val="bg1"/>
                </a:solidFill>
              </a:rPr>
              <a:t>2006</a:t>
            </a:r>
          </a:p>
        </p:txBody>
      </p:sp>
      <p:sp>
        <p:nvSpPr>
          <p:cNvPr id="48" name="Oval 47"/>
          <p:cNvSpPr>
            <a:spLocks noChangeAspect="1"/>
          </p:cNvSpPr>
          <p:nvPr/>
        </p:nvSpPr>
        <p:spPr>
          <a:xfrm>
            <a:off x="1157644" y="3575758"/>
            <a:ext cx="396000" cy="396000"/>
          </a:xfrm>
          <a:prstGeom prst="ellipse">
            <a:avLst/>
          </a:prstGeom>
          <a:solidFill>
            <a:srgbClr val="003272"/>
          </a:solidFill>
          <a:ln>
            <a:solidFill>
              <a:srgbClr val="003272"/>
            </a:solidFill>
          </a:ln>
        </p:spPr>
        <p:txBody>
          <a:bodyPr wrap="square" lIns="0" tIns="0" rIns="0" bIns="0" rtlCol="0" anchor="ctr">
            <a:noAutofit/>
          </a:bodyPr>
          <a:lstStyle/>
          <a:p>
            <a:pPr algn="ctr"/>
            <a:r>
              <a:rPr lang="en-US" sz="1000" dirty="0">
                <a:solidFill>
                  <a:schemeClr val="bg1"/>
                </a:solidFill>
              </a:rPr>
              <a:t>200</a:t>
            </a:r>
            <a:r>
              <a:rPr lang="ru-RU" sz="1000" dirty="0">
                <a:solidFill>
                  <a:schemeClr val="bg1"/>
                </a:solidFill>
              </a:rPr>
              <a:t>7</a:t>
            </a:r>
            <a:endParaRPr lang="en-US" sz="1000" dirty="0">
              <a:solidFill>
                <a:schemeClr val="bg1"/>
              </a:solidFill>
            </a:endParaRPr>
          </a:p>
        </p:txBody>
      </p:sp>
      <p:sp>
        <p:nvSpPr>
          <p:cNvPr id="49" name="Oval 48"/>
          <p:cNvSpPr>
            <a:spLocks noChangeAspect="1"/>
          </p:cNvSpPr>
          <p:nvPr/>
        </p:nvSpPr>
        <p:spPr>
          <a:xfrm>
            <a:off x="1661700" y="3611758"/>
            <a:ext cx="324000" cy="324000"/>
          </a:xfrm>
          <a:prstGeom prst="ellipse">
            <a:avLst/>
          </a:prstGeom>
          <a:solidFill>
            <a:schemeClr val="bg1"/>
          </a:solidFill>
          <a:ln w="3175">
            <a:solidFill>
              <a:srgbClr val="003272"/>
            </a:solidFill>
          </a:ln>
        </p:spPr>
        <p:txBody>
          <a:bodyPr wrap="square" lIns="0" tIns="0" rIns="0" bIns="0" rtlCol="0" anchor="ctr">
            <a:noAutofit/>
          </a:bodyPr>
          <a:lstStyle/>
          <a:p>
            <a:pPr algn="ctr"/>
            <a:r>
              <a:rPr lang="en-US" sz="800" dirty="0">
                <a:solidFill>
                  <a:srgbClr val="003272"/>
                </a:solidFill>
              </a:rPr>
              <a:t>200</a:t>
            </a:r>
            <a:r>
              <a:rPr lang="ru-RU" sz="800" dirty="0">
                <a:solidFill>
                  <a:srgbClr val="003272"/>
                </a:solidFill>
              </a:rPr>
              <a:t>8</a:t>
            </a:r>
            <a:endParaRPr lang="en-US" sz="800" dirty="0">
              <a:solidFill>
                <a:srgbClr val="003272"/>
              </a:solidFill>
            </a:endParaRPr>
          </a:p>
        </p:txBody>
      </p:sp>
      <p:sp>
        <p:nvSpPr>
          <p:cNvPr id="50" name="Oval 49"/>
          <p:cNvSpPr>
            <a:spLocks noChangeAspect="1"/>
          </p:cNvSpPr>
          <p:nvPr/>
        </p:nvSpPr>
        <p:spPr>
          <a:xfrm>
            <a:off x="2093748" y="3611758"/>
            <a:ext cx="324000" cy="324000"/>
          </a:xfrm>
          <a:prstGeom prst="ellipse">
            <a:avLst/>
          </a:prstGeom>
          <a:solidFill>
            <a:schemeClr val="bg1"/>
          </a:solidFill>
          <a:ln w="3175">
            <a:solidFill>
              <a:srgbClr val="003272"/>
            </a:solidFill>
          </a:ln>
        </p:spPr>
        <p:txBody>
          <a:bodyPr wrap="square" lIns="0" tIns="0" rIns="0" bIns="0" rtlCol="0" anchor="ctr">
            <a:noAutofit/>
          </a:bodyPr>
          <a:lstStyle/>
          <a:p>
            <a:pPr algn="ctr"/>
            <a:r>
              <a:rPr lang="en-US" sz="800" dirty="0">
                <a:solidFill>
                  <a:srgbClr val="003272"/>
                </a:solidFill>
              </a:rPr>
              <a:t>200</a:t>
            </a:r>
            <a:r>
              <a:rPr lang="ru-RU" sz="800" dirty="0">
                <a:solidFill>
                  <a:srgbClr val="003272"/>
                </a:solidFill>
              </a:rPr>
              <a:t>9</a:t>
            </a:r>
            <a:endParaRPr lang="en-US" sz="800" dirty="0">
              <a:solidFill>
                <a:srgbClr val="003272"/>
              </a:solidFill>
            </a:endParaRPr>
          </a:p>
        </p:txBody>
      </p:sp>
      <p:sp>
        <p:nvSpPr>
          <p:cNvPr id="51" name="Oval 50"/>
          <p:cNvSpPr>
            <a:spLocks noChangeAspect="1"/>
          </p:cNvSpPr>
          <p:nvPr/>
        </p:nvSpPr>
        <p:spPr>
          <a:xfrm>
            <a:off x="2503373" y="3575758"/>
            <a:ext cx="396000" cy="396000"/>
          </a:xfrm>
          <a:prstGeom prst="ellipse">
            <a:avLst/>
          </a:prstGeom>
          <a:solidFill>
            <a:srgbClr val="003272"/>
          </a:solidFill>
          <a:ln>
            <a:solidFill>
              <a:srgbClr val="003272"/>
            </a:solidFill>
          </a:ln>
        </p:spPr>
        <p:txBody>
          <a:bodyPr wrap="square" lIns="0" tIns="0" rIns="0" bIns="0" rtlCol="0" anchor="ctr">
            <a:noAutofit/>
          </a:bodyPr>
          <a:lstStyle/>
          <a:p>
            <a:pPr algn="ctr"/>
            <a:r>
              <a:rPr lang="en-US" sz="1000" dirty="0">
                <a:solidFill>
                  <a:schemeClr val="bg1"/>
                </a:solidFill>
              </a:rPr>
              <a:t>20</a:t>
            </a:r>
            <a:r>
              <a:rPr lang="ru-RU" sz="1000" dirty="0">
                <a:solidFill>
                  <a:schemeClr val="bg1"/>
                </a:solidFill>
              </a:rPr>
              <a:t>10</a:t>
            </a:r>
            <a:endParaRPr lang="en-US" sz="1000" dirty="0">
              <a:solidFill>
                <a:schemeClr val="bg1"/>
              </a:solidFill>
            </a:endParaRPr>
          </a:p>
        </p:txBody>
      </p:sp>
      <p:sp>
        <p:nvSpPr>
          <p:cNvPr id="52" name="Oval 51"/>
          <p:cNvSpPr>
            <a:spLocks noChangeAspect="1"/>
          </p:cNvSpPr>
          <p:nvPr/>
        </p:nvSpPr>
        <p:spPr>
          <a:xfrm>
            <a:off x="3267804" y="3575758"/>
            <a:ext cx="396000" cy="396000"/>
          </a:xfrm>
          <a:prstGeom prst="ellipse">
            <a:avLst/>
          </a:prstGeom>
          <a:solidFill>
            <a:srgbClr val="003272"/>
          </a:solidFill>
          <a:ln>
            <a:solidFill>
              <a:srgbClr val="003272"/>
            </a:solidFill>
          </a:ln>
        </p:spPr>
        <p:txBody>
          <a:bodyPr wrap="square" lIns="0" tIns="0" rIns="0" bIns="0" rtlCol="0" anchor="ctr">
            <a:noAutofit/>
          </a:bodyPr>
          <a:lstStyle/>
          <a:p>
            <a:pPr algn="ctr"/>
            <a:r>
              <a:rPr lang="en-US" sz="1000" dirty="0">
                <a:solidFill>
                  <a:schemeClr val="bg1"/>
                </a:solidFill>
              </a:rPr>
              <a:t>20</a:t>
            </a:r>
            <a:r>
              <a:rPr lang="ru-RU" sz="1000" dirty="0">
                <a:solidFill>
                  <a:schemeClr val="bg1"/>
                </a:solidFill>
              </a:rPr>
              <a:t>11</a:t>
            </a:r>
            <a:endParaRPr lang="en-US" sz="1000" dirty="0">
              <a:solidFill>
                <a:schemeClr val="bg1"/>
              </a:solidFill>
            </a:endParaRPr>
          </a:p>
        </p:txBody>
      </p:sp>
      <p:sp>
        <p:nvSpPr>
          <p:cNvPr id="53" name="Oval 52"/>
          <p:cNvSpPr>
            <a:spLocks noChangeAspect="1"/>
          </p:cNvSpPr>
          <p:nvPr/>
        </p:nvSpPr>
        <p:spPr>
          <a:xfrm>
            <a:off x="4032235" y="3575758"/>
            <a:ext cx="396000" cy="396000"/>
          </a:xfrm>
          <a:prstGeom prst="ellipse">
            <a:avLst/>
          </a:prstGeom>
          <a:solidFill>
            <a:srgbClr val="003272"/>
          </a:solidFill>
          <a:ln>
            <a:solidFill>
              <a:srgbClr val="003272"/>
            </a:solidFill>
          </a:ln>
        </p:spPr>
        <p:txBody>
          <a:bodyPr wrap="square" lIns="0" tIns="0" rIns="0" bIns="0" rtlCol="0" anchor="ctr">
            <a:noAutofit/>
          </a:bodyPr>
          <a:lstStyle/>
          <a:p>
            <a:pPr algn="ctr"/>
            <a:r>
              <a:rPr lang="en-US" sz="1000" dirty="0">
                <a:solidFill>
                  <a:schemeClr val="bg1"/>
                </a:solidFill>
              </a:rPr>
              <a:t>20</a:t>
            </a:r>
            <a:r>
              <a:rPr lang="ru-RU" sz="1000" dirty="0">
                <a:solidFill>
                  <a:schemeClr val="bg1"/>
                </a:solidFill>
              </a:rPr>
              <a:t>12</a:t>
            </a:r>
            <a:endParaRPr lang="en-US" sz="1000" dirty="0">
              <a:solidFill>
                <a:schemeClr val="bg1"/>
              </a:solidFill>
            </a:endParaRPr>
          </a:p>
        </p:txBody>
      </p:sp>
      <p:sp>
        <p:nvSpPr>
          <p:cNvPr id="54" name="Oval 53"/>
          <p:cNvSpPr>
            <a:spLocks noChangeAspect="1"/>
          </p:cNvSpPr>
          <p:nvPr/>
        </p:nvSpPr>
        <p:spPr>
          <a:xfrm>
            <a:off x="4796666" y="3575758"/>
            <a:ext cx="396000" cy="396000"/>
          </a:xfrm>
          <a:prstGeom prst="ellipse">
            <a:avLst/>
          </a:prstGeom>
          <a:solidFill>
            <a:srgbClr val="003272"/>
          </a:solidFill>
          <a:ln>
            <a:solidFill>
              <a:srgbClr val="003272"/>
            </a:solidFill>
          </a:ln>
        </p:spPr>
        <p:txBody>
          <a:bodyPr wrap="square" lIns="0" tIns="0" rIns="0" bIns="0" rtlCol="0" anchor="ctr">
            <a:noAutofit/>
          </a:bodyPr>
          <a:lstStyle/>
          <a:p>
            <a:pPr algn="ctr"/>
            <a:r>
              <a:rPr lang="en-US" sz="1000" dirty="0">
                <a:solidFill>
                  <a:schemeClr val="bg1"/>
                </a:solidFill>
              </a:rPr>
              <a:t>20</a:t>
            </a:r>
            <a:r>
              <a:rPr lang="ru-RU" sz="1000" dirty="0">
                <a:solidFill>
                  <a:schemeClr val="bg1"/>
                </a:solidFill>
              </a:rPr>
              <a:t>13</a:t>
            </a:r>
            <a:endParaRPr lang="en-US" sz="1000" dirty="0">
              <a:solidFill>
                <a:schemeClr val="bg1"/>
              </a:solidFill>
            </a:endParaRPr>
          </a:p>
        </p:txBody>
      </p:sp>
      <p:sp>
        <p:nvSpPr>
          <p:cNvPr id="55" name="Oval 54"/>
          <p:cNvSpPr>
            <a:spLocks noChangeAspect="1"/>
          </p:cNvSpPr>
          <p:nvPr/>
        </p:nvSpPr>
        <p:spPr>
          <a:xfrm>
            <a:off x="5561097" y="3575758"/>
            <a:ext cx="396000" cy="396000"/>
          </a:xfrm>
          <a:prstGeom prst="ellipse">
            <a:avLst/>
          </a:prstGeom>
          <a:solidFill>
            <a:srgbClr val="003272"/>
          </a:solidFill>
          <a:ln>
            <a:solidFill>
              <a:srgbClr val="003272"/>
            </a:solidFill>
          </a:ln>
        </p:spPr>
        <p:txBody>
          <a:bodyPr wrap="square" lIns="0" tIns="0" rIns="0" bIns="0" rtlCol="0" anchor="ctr">
            <a:noAutofit/>
          </a:bodyPr>
          <a:lstStyle/>
          <a:p>
            <a:pPr algn="ctr"/>
            <a:r>
              <a:rPr lang="en-US" sz="1000" dirty="0">
                <a:solidFill>
                  <a:schemeClr val="bg1"/>
                </a:solidFill>
              </a:rPr>
              <a:t>20</a:t>
            </a:r>
            <a:r>
              <a:rPr lang="ru-RU" sz="1000" dirty="0">
                <a:solidFill>
                  <a:schemeClr val="bg1"/>
                </a:solidFill>
              </a:rPr>
              <a:t>14</a:t>
            </a:r>
            <a:endParaRPr lang="en-US" sz="1000" dirty="0">
              <a:solidFill>
                <a:schemeClr val="bg1"/>
              </a:solidFill>
            </a:endParaRPr>
          </a:p>
        </p:txBody>
      </p:sp>
      <p:sp>
        <p:nvSpPr>
          <p:cNvPr id="56" name="Oval 55"/>
          <p:cNvSpPr>
            <a:spLocks noChangeAspect="1"/>
          </p:cNvSpPr>
          <p:nvPr/>
        </p:nvSpPr>
        <p:spPr>
          <a:xfrm>
            <a:off x="6325528" y="3575758"/>
            <a:ext cx="396000" cy="396000"/>
          </a:xfrm>
          <a:prstGeom prst="ellipse">
            <a:avLst/>
          </a:prstGeom>
          <a:solidFill>
            <a:srgbClr val="003272"/>
          </a:solidFill>
          <a:ln>
            <a:solidFill>
              <a:srgbClr val="003272"/>
            </a:solidFill>
          </a:ln>
        </p:spPr>
        <p:txBody>
          <a:bodyPr wrap="square" lIns="0" tIns="0" rIns="0" bIns="0" rtlCol="0" anchor="ctr">
            <a:noAutofit/>
          </a:bodyPr>
          <a:lstStyle/>
          <a:p>
            <a:pPr algn="ctr"/>
            <a:r>
              <a:rPr lang="en-US" sz="1000" dirty="0">
                <a:solidFill>
                  <a:schemeClr val="bg1"/>
                </a:solidFill>
              </a:rPr>
              <a:t>20</a:t>
            </a:r>
            <a:r>
              <a:rPr lang="ru-RU" sz="1000" dirty="0">
                <a:solidFill>
                  <a:schemeClr val="bg1"/>
                </a:solidFill>
              </a:rPr>
              <a:t>15</a:t>
            </a:r>
            <a:endParaRPr lang="en-US" sz="1000" dirty="0">
              <a:solidFill>
                <a:schemeClr val="bg1"/>
              </a:solidFill>
            </a:endParaRPr>
          </a:p>
        </p:txBody>
      </p:sp>
      <p:sp>
        <p:nvSpPr>
          <p:cNvPr id="57" name="Oval 56"/>
          <p:cNvSpPr>
            <a:spLocks noChangeAspect="1"/>
          </p:cNvSpPr>
          <p:nvPr/>
        </p:nvSpPr>
        <p:spPr>
          <a:xfrm>
            <a:off x="7089959" y="3575758"/>
            <a:ext cx="396000" cy="396000"/>
          </a:xfrm>
          <a:prstGeom prst="ellipse">
            <a:avLst/>
          </a:prstGeom>
          <a:solidFill>
            <a:srgbClr val="003272"/>
          </a:solidFill>
          <a:ln>
            <a:solidFill>
              <a:srgbClr val="003272"/>
            </a:solidFill>
          </a:ln>
        </p:spPr>
        <p:txBody>
          <a:bodyPr wrap="square" lIns="0" tIns="0" rIns="0" bIns="0" rtlCol="0" anchor="ctr">
            <a:noAutofit/>
          </a:bodyPr>
          <a:lstStyle/>
          <a:p>
            <a:pPr algn="ctr"/>
            <a:r>
              <a:rPr lang="en-US" sz="1000" dirty="0">
                <a:solidFill>
                  <a:schemeClr val="bg1"/>
                </a:solidFill>
              </a:rPr>
              <a:t>20</a:t>
            </a:r>
            <a:r>
              <a:rPr lang="ru-RU" sz="1000" dirty="0">
                <a:solidFill>
                  <a:schemeClr val="bg1"/>
                </a:solidFill>
              </a:rPr>
              <a:t>16</a:t>
            </a:r>
            <a:endParaRPr lang="en-US" sz="1000" dirty="0">
              <a:solidFill>
                <a:schemeClr val="bg1"/>
              </a:solidFill>
            </a:endParaRPr>
          </a:p>
        </p:txBody>
      </p:sp>
      <p:sp>
        <p:nvSpPr>
          <p:cNvPr id="58" name="Oval 57"/>
          <p:cNvSpPr>
            <a:spLocks noChangeAspect="1"/>
          </p:cNvSpPr>
          <p:nvPr/>
        </p:nvSpPr>
        <p:spPr>
          <a:xfrm>
            <a:off x="7628568" y="3575926"/>
            <a:ext cx="396000" cy="396000"/>
          </a:xfrm>
          <a:prstGeom prst="ellipse">
            <a:avLst/>
          </a:prstGeom>
          <a:solidFill>
            <a:srgbClr val="003272"/>
          </a:solidFill>
          <a:ln>
            <a:solidFill>
              <a:srgbClr val="003272"/>
            </a:solidFill>
          </a:ln>
        </p:spPr>
        <p:txBody>
          <a:bodyPr wrap="square" lIns="0" tIns="0" rIns="0" bIns="0" rtlCol="0" anchor="ctr">
            <a:noAutofit/>
          </a:bodyPr>
          <a:lstStyle/>
          <a:p>
            <a:pPr algn="ctr"/>
            <a:r>
              <a:rPr lang="en-US" sz="1000" dirty="0">
                <a:solidFill>
                  <a:schemeClr val="bg1"/>
                </a:solidFill>
              </a:rPr>
              <a:t>20</a:t>
            </a:r>
            <a:r>
              <a:rPr lang="ru-RU" sz="1000" dirty="0">
                <a:solidFill>
                  <a:schemeClr val="bg1"/>
                </a:solidFill>
              </a:rPr>
              <a:t>17</a:t>
            </a:r>
            <a:endParaRPr lang="en-US" sz="1000" dirty="0">
              <a:solidFill>
                <a:schemeClr val="bg1"/>
              </a:solidFill>
            </a:endParaRPr>
          </a:p>
        </p:txBody>
      </p:sp>
      <p:sp>
        <p:nvSpPr>
          <p:cNvPr id="59" name="Line Callout 1 (Accent Bar) 58"/>
          <p:cNvSpPr/>
          <p:nvPr/>
        </p:nvSpPr>
        <p:spPr>
          <a:xfrm rot="16200000">
            <a:off x="7622543" y="2436428"/>
            <a:ext cx="257369" cy="792088"/>
          </a:xfrm>
          <a:prstGeom prst="accentCallout1">
            <a:avLst>
              <a:gd name="adj1" fmla="val 49204"/>
              <a:gd name="adj2" fmla="val 556"/>
              <a:gd name="adj3" fmla="val 53509"/>
              <a:gd name="adj4" fmla="val -271150"/>
            </a:avLst>
          </a:prstGeom>
          <a:noFill/>
          <a:ln w="19050">
            <a:solidFill>
              <a:srgbClr val="003272"/>
            </a:solidFill>
            <a:round/>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36000" tIns="0" rIns="36000" bIns="0" rtlCol="0" anchor="ctr">
            <a:spAutoFit/>
          </a:bodyPr>
          <a:lstStyle/>
          <a:p>
            <a:pPr lvl="0" algn="ctr">
              <a:spcAft>
                <a:spcPts val="1800"/>
              </a:spcAft>
            </a:pPr>
            <a:r>
              <a:rPr lang="en-US" sz="1200" b="1" spc="10" dirty="0">
                <a:solidFill>
                  <a:schemeClr val="tx2"/>
                </a:solidFill>
              </a:rPr>
              <a:t>Rostov</a:t>
            </a:r>
            <a:r>
              <a:rPr lang="ru-RU" sz="1200" b="1" spc="10" dirty="0">
                <a:solidFill>
                  <a:schemeClr val="tx2"/>
                </a:solidFill>
              </a:rPr>
              <a:t> 4</a:t>
            </a:r>
            <a:endParaRPr lang="en-US" sz="1200" b="1" spc="10" dirty="0">
              <a:solidFill>
                <a:schemeClr val="tx2"/>
              </a:solidFill>
            </a:endParaRPr>
          </a:p>
        </p:txBody>
      </p:sp>
      <p:sp>
        <p:nvSpPr>
          <p:cNvPr id="60" name="Line Callout 1 (Accent Bar) 59"/>
          <p:cNvSpPr/>
          <p:nvPr/>
        </p:nvSpPr>
        <p:spPr>
          <a:xfrm rot="5400000">
            <a:off x="8411697" y="3966050"/>
            <a:ext cx="257369" cy="1147276"/>
          </a:xfrm>
          <a:prstGeom prst="accentCallout1">
            <a:avLst>
              <a:gd name="adj1" fmla="val 53684"/>
              <a:gd name="adj2" fmla="val 662"/>
              <a:gd name="adj3" fmla="val 106721"/>
              <a:gd name="adj4" fmla="val -229356"/>
            </a:avLst>
          </a:prstGeom>
          <a:noFill/>
          <a:ln w="19050">
            <a:solidFill>
              <a:srgbClr val="003272"/>
            </a:solidFill>
            <a:round/>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wrap="square" lIns="36000" tIns="0" rIns="36000" bIns="0" rtlCol="0" anchor="ctr">
            <a:spAutoFit/>
          </a:bodyPr>
          <a:lstStyle/>
          <a:p>
            <a:pPr lvl="0" algn="ctr">
              <a:spcAft>
                <a:spcPts val="1800"/>
              </a:spcAft>
            </a:pPr>
            <a:r>
              <a:rPr lang="en-US" sz="1200" b="1" spc="10" dirty="0">
                <a:solidFill>
                  <a:schemeClr val="tx2"/>
                </a:solidFill>
              </a:rPr>
              <a:t>Leningrad</a:t>
            </a:r>
            <a:r>
              <a:rPr lang="ru-RU" sz="1200" b="1" spc="10" dirty="0">
                <a:solidFill>
                  <a:schemeClr val="tx2"/>
                </a:solidFill>
              </a:rPr>
              <a:t> 2</a:t>
            </a:r>
            <a:r>
              <a:rPr lang="en-US" sz="1200" b="1" spc="10" dirty="0">
                <a:solidFill>
                  <a:schemeClr val="tx2"/>
                </a:solidFill>
              </a:rPr>
              <a:t>-1</a:t>
            </a:r>
            <a:endParaRPr lang="ru-RU" sz="1200" b="1" spc="10" dirty="0">
              <a:solidFill>
                <a:schemeClr val="tx2"/>
              </a:solidFill>
            </a:endParaRPr>
          </a:p>
        </p:txBody>
      </p:sp>
      <p:grpSp>
        <p:nvGrpSpPr>
          <p:cNvPr id="6" name="Группа 5"/>
          <p:cNvGrpSpPr/>
          <p:nvPr/>
        </p:nvGrpSpPr>
        <p:grpSpPr>
          <a:xfrm>
            <a:off x="1517684" y="1772952"/>
            <a:ext cx="1260000" cy="1260000"/>
            <a:chOff x="1547664" y="1772952"/>
            <a:chExt cx="1260000" cy="1260000"/>
          </a:xfrm>
        </p:grpSpPr>
        <p:pic>
          <p:nvPicPr>
            <p:cNvPr id="64" name="Picture 6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01664" y="1826952"/>
              <a:ext cx="1152000" cy="1152000"/>
            </a:xfrm>
            <a:prstGeom prst="ellipse">
              <a:avLst/>
            </a:prstGeom>
            <a:ln w="50800" cap="rnd">
              <a:solidFill>
                <a:schemeClr val="bg1"/>
              </a:solidFill>
            </a:ln>
            <a:effectLst/>
          </p:spPr>
        </p:pic>
        <p:sp>
          <p:nvSpPr>
            <p:cNvPr id="87" name="Oval 86"/>
            <p:cNvSpPr>
              <a:spLocks noChangeAspect="1"/>
            </p:cNvSpPr>
            <p:nvPr/>
          </p:nvSpPr>
          <p:spPr>
            <a:xfrm>
              <a:off x="1547664" y="1772952"/>
              <a:ext cx="1260000" cy="1260000"/>
            </a:xfrm>
            <a:prstGeom prst="ellipse">
              <a:avLst/>
            </a:prstGeom>
            <a:noFill/>
            <a:ln w="22225">
              <a:solidFill>
                <a:srgbClr val="00327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grpSp>
        <p:nvGrpSpPr>
          <p:cNvPr id="9" name="Группа 8"/>
          <p:cNvGrpSpPr/>
          <p:nvPr/>
        </p:nvGrpSpPr>
        <p:grpSpPr>
          <a:xfrm>
            <a:off x="4598825" y="1892283"/>
            <a:ext cx="1116057" cy="1116057"/>
            <a:chOff x="4716016" y="1772952"/>
            <a:chExt cx="1260000" cy="1260000"/>
          </a:xfrm>
        </p:grpSpPr>
        <p:pic>
          <p:nvPicPr>
            <p:cNvPr id="81" name="Picture 80"/>
            <p:cNvPicPr>
              <a:picLocks/>
            </p:cNvPicPr>
            <p:nvPr/>
          </p:nvPicPr>
          <p:blipFill>
            <a:blip r:embed="rId9" cstate="print">
              <a:extLst>
                <a:ext uri="{28A0092B-C50C-407E-A947-70E740481C1C}">
                  <a14:useLocalDpi xmlns:a14="http://schemas.microsoft.com/office/drawing/2010/main" val="0"/>
                </a:ext>
              </a:extLst>
            </a:blip>
            <a:stretch>
              <a:fillRect/>
            </a:stretch>
          </p:blipFill>
          <p:spPr>
            <a:xfrm>
              <a:off x="4769953" y="1826952"/>
              <a:ext cx="1152127" cy="1152000"/>
            </a:xfrm>
            <a:prstGeom prst="ellipse">
              <a:avLst/>
            </a:prstGeom>
            <a:ln w="50800" cap="rnd">
              <a:solidFill>
                <a:schemeClr val="bg1"/>
              </a:solidFill>
            </a:ln>
            <a:effectLst/>
          </p:spPr>
        </p:pic>
        <p:sp>
          <p:nvSpPr>
            <p:cNvPr id="89" name="Oval 88"/>
            <p:cNvSpPr/>
            <p:nvPr/>
          </p:nvSpPr>
          <p:spPr>
            <a:xfrm>
              <a:off x="4716016" y="1772952"/>
              <a:ext cx="1260000" cy="1260000"/>
            </a:xfrm>
            <a:prstGeom prst="ellipse">
              <a:avLst/>
            </a:prstGeom>
            <a:noFill/>
            <a:ln w="25400">
              <a:solidFill>
                <a:srgbClr val="00327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sp>
        <p:nvSpPr>
          <p:cNvPr id="72" name="Rectangle 71"/>
          <p:cNvSpPr/>
          <p:nvPr/>
        </p:nvSpPr>
        <p:spPr>
          <a:xfrm>
            <a:off x="719572" y="1148184"/>
            <a:ext cx="7704856" cy="374718"/>
          </a:xfrm>
          <a:prstGeom prst="rect">
            <a:avLst/>
          </a:prstGeom>
        </p:spPr>
        <p:txBody>
          <a:bodyPr wrap="square" lIns="0" tIns="0" rIns="0" bIns="0">
            <a:spAutoFit/>
          </a:bodyPr>
          <a:lstStyle/>
          <a:p>
            <a:pPr algn="ctr">
              <a:lnSpc>
                <a:spcPct val="110000"/>
              </a:lnSpc>
            </a:pPr>
            <a:r>
              <a:rPr lang="en-US" sz="2400" b="1" spc="30" dirty="0">
                <a:solidFill>
                  <a:schemeClr val="bg2"/>
                </a:solidFill>
              </a:rPr>
              <a:t>Continuous success:</a:t>
            </a:r>
            <a:r>
              <a:rPr lang="en-US" sz="2400" b="1" spc="30" dirty="0">
                <a:solidFill>
                  <a:schemeClr val="bg1"/>
                </a:solidFill>
              </a:rPr>
              <a:t> </a:t>
            </a:r>
            <a:r>
              <a:rPr lang="en-US" sz="2400" b="1" spc="30" dirty="0">
                <a:solidFill>
                  <a:schemeClr val="accent1"/>
                </a:solidFill>
              </a:rPr>
              <a:t>1</a:t>
            </a:r>
            <a:r>
              <a:rPr lang="ru-RU" sz="2400" b="1" spc="30" dirty="0">
                <a:solidFill>
                  <a:schemeClr val="accent1"/>
                </a:solidFill>
              </a:rPr>
              <a:t>4</a:t>
            </a:r>
            <a:r>
              <a:rPr lang="en-US" sz="2400" b="1" spc="30" dirty="0">
                <a:solidFill>
                  <a:schemeClr val="accent1"/>
                </a:solidFill>
              </a:rPr>
              <a:t> NPPs in 12 YEARS</a:t>
            </a:r>
            <a:endParaRPr lang="en-US" sz="2400" b="1" spc="40" dirty="0">
              <a:solidFill>
                <a:schemeClr val="accent1"/>
              </a:solidFill>
            </a:endParaRPr>
          </a:p>
        </p:txBody>
      </p:sp>
      <p:grpSp>
        <p:nvGrpSpPr>
          <p:cNvPr id="5" name="Группа 4"/>
          <p:cNvGrpSpPr/>
          <p:nvPr/>
        </p:nvGrpSpPr>
        <p:grpSpPr>
          <a:xfrm>
            <a:off x="87847" y="1782015"/>
            <a:ext cx="1260140" cy="1260000"/>
            <a:chOff x="251520" y="1988976"/>
            <a:chExt cx="1260140" cy="1260000"/>
          </a:xfrm>
        </p:grpSpPr>
        <p:sp>
          <p:nvSpPr>
            <p:cNvPr id="3" name="Oval 2"/>
            <p:cNvSpPr>
              <a:spLocks noChangeAspect="1"/>
            </p:cNvSpPr>
            <p:nvPr/>
          </p:nvSpPr>
          <p:spPr>
            <a:xfrm>
              <a:off x="251520" y="1988976"/>
              <a:ext cx="1260140" cy="1260000"/>
            </a:xfrm>
            <a:prstGeom prst="ellipse">
              <a:avLst/>
            </a:prstGeom>
            <a:noFill/>
            <a:ln w="28575">
              <a:solidFill>
                <a:srgbClr val="05BA9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pic>
          <p:nvPicPr>
            <p:cNvPr id="4" name="Рисунок 3"/>
            <p:cNvPicPr>
              <a:picLocks noChangeAspect="1"/>
            </p:cNvPicPr>
            <p:nvPr/>
          </p:nvPicPr>
          <p:blipFill rotWithShape="1">
            <a:blip r:embed="rId10" cstate="print">
              <a:extLst>
                <a:ext uri="{28A0092B-C50C-407E-A947-70E740481C1C}">
                  <a14:useLocalDpi xmlns:a14="http://schemas.microsoft.com/office/drawing/2010/main" val="0"/>
                </a:ext>
              </a:extLst>
            </a:blip>
            <a:srcRect l="16733" r="16733"/>
            <a:stretch/>
          </p:blipFill>
          <p:spPr>
            <a:xfrm>
              <a:off x="305590" y="2042976"/>
              <a:ext cx="1152000" cy="1152000"/>
            </a:xfrm>
            <a:prstGeom prst="ellipse">
              <a:avLst/>
            </a:prstGeom>
          </p:spPr>
        </p:pic>
      </p:grpSp>
      <p:grpSp>
        <p:nvGrpSpPr>
          <p:cNvPr id="8" name="Группа 7"/>
          <p:cNvGrpSpPr/>
          <p:nvPr/>
        </p:nvGrpSpPr>
        <p:grpSpPr>
          <a:xfrm>
            <a:off x="3101860" y="1772952"/>
            <a:ext cx="1260000" cy="1260000"/>
            <a:chOff x="3131840" y="1772952"/>
            <a:chExt cx="1260000" cy="1260000"/>
          </a:xfrm>
        </p:grpSpPr>
        <p:sp>
          <p:nvSpPr>
            <p:cNvPr id="88" name="Oval 87"/>
            <p:cNvSpPr/>
            <p:nvPr/>
          </p:nvSpPr>
          <p:spPr>
            <a:xfrm>
              <a:off x="3131840" y="1772952"/>
              <a:ext cx="1260000" cy="1260000"/>
            </a:xfrm>
            <a:prstGeom prst="ellipse">
              <a:avLst/>
            </a:prstGeom>
            <a:noFill/>
            <a:ln w="25400">
              <a:solidFill>
                <a:srgbClr val="00327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pic>
          <p:nvPicPr>
            <p:cNvPr id="7" name="Рисунок 6"/>
            <p:cNvPicPr>
              <a:picLocks noChangeAspect="1"/>
            </p:cNvPicPr>
            <p:nvPr/>
          </p:nvPicPr>
          <p:blipFill rotWithShape="1">
            <a:blip r:embed="rId11" cstate="print">
              <a:extLst>
                <a:ext uri="{28A0092B-C50C-407E-A947-70E740481C1C}">
                  <a14:useLocalDpi xmlns:a14="http://schemas.microsoft.com/office/drawing/2010/main" val="0"/>
                </a:ext>
              </a:extLst>
            </a:blip>
            <a:srcRect l="14625" r="14625"/>
            <a:stretch/>
          </p:blipFill>
          <p:spPr>
            <a:xfrm>
              <a:off x="3185840" y="1826952"/>
              <a:ext cx="1152000" cy="1152000"/>
            </a:xfrm>
            <a:prstGeom prst="ellipse">
              <a:avLst/>
            </a:prstGeom>
          </p:spPr>
        </p:pic>
      </p:grpSp>
      <p:grpSp>
        <p:nvGrpSpPr>
          <p:cNvPr id="11" name="Группа 10"/>
          <p:cNvGrpSpPr/>
          <p:nvPr/>
        </p:nvGrpSpPr>
        <p:grpSpPr>
          <a:xfrm>
            <a:off x="5917574" y="1772952"/>
            <a:ext cx="1260000" cy="1260000"/>
            <a:chOff x="6156176" y="1988976"/>
            <a:chExt cx="1260000" cy="1260000"/>
          </a:xfrm>
        </p:grpSpPr>
        <p:sp>
          <p:nvSpPr>
            <p:cNvPr id="84" name="Oval 83"/>
            <p:cNvSpPr/>
            <p:nvPr/>
          </p:nvSpPr>
          <p:spPr>
            <a:xfrm>
              <a:off x="6156176" y="1988976"/>
              <a:ext cx="1260000" cy="1260000"/>
            </a:xfrm>
            <a:prstGeom prst="ellipse">
              <a:avLst/>
            </a:prstGeom>
            <a:noFill/>
            <a:ln w="254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pic>
          <p:nvPicPr>
            <p:cNvPr id="10" name="Рисунок 9"/>
            <p:cNvPicPr>
              <a:picLocks noChangeAspect="1"/>
            </p:cNvPicPr>
            <p:nvPr/>
          </p:nvPicPr>
          <p:blipFill rotWithShape="1">
            <a:blip r:embed="rId12" cstate="print">
              <a:extLst>
                <a:ext uri="{28A0092B-C50C-407E-A947-70E740481C1C}">
                  <a14:useLocalDpi xmlns:a14="http://schemas.microsoft.com/office/drawing/2010/main" val="0"/>
                </a:ext>
              </a:extLst>
            </a:blip>
            <a:srcRect l="16721" r="16721"/>
            <a:stretch/>
          </p:blipFill>
          <p:spPr>
            <a:xfrm>
              <a:off x="6210176" y="2042976"/>
              <a:ext cx="1152000" cy="1152000"/>
            </a:xfrm>
            <a:prstGeom prst="ellipse">
              <a:avLst/>
            </a:prstGeom>
          </p:spPr>
        </p:pic>
      </p:grpSp>
      <p:grpSp>
        <p:nvGrpSpPr>
          <p:cNvPr id="16" name="Группа 15"/>
          <p:cNvGrpSpPr/>
          <p:nvPr/>
        </p:nvGrpSpPr>
        <p:grpSpPr>
          <a:xfrm>
            <a:off x="3983996" y="4679688"/>
            <a:ext cx="1323143" cy="1323143"/>
            <a:chOff x="3743908" y="4653136"/>
            <a:chExt cx="1656184" cy="1656184"/>
          </a:xfrm>
        </p:grpSpPr>
        <p:sp>
          <p:nvSpPr>
            <p:cNvPr id="91" name="Oval 90"/>
            <p:cNvSpPr/>
            <p:nvPr/>
          </p:nvSpPr>
          <p:spPr>
            <a:xfrm>
              <a:off x="3743908" y="4653136"/>
              <a:ext cx="1656184" cy="1656184"/>
            </a:xfrm>
            <a:prstGeom prst="ellipse">
              <a:avLst/>
            </a:prstGeom>
            <a:noFill/>
            <a:ln w="254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pic>
          <p:nvPicPr>
            <p:cNvPr id="13" name="Рисунок 12"/>
            <p:cNvPicPr>
              <a:picLocks noChangeAspect="1"/>
            </p:cNvPicPr>
            <p:nvPr/>
          </p:nvPicPr>
          <p:blipFill rotWithShape="1">
            <a:blip r:embed="rId13" cstate="print">
              <a:extLst>
                <a:ext uri="{28A0092B-C50C-407E-A947-70E740481C1C}">
                  <a14:useLocalDpi xmlns:a14="http://schemas.microsoft.com/office/drawing/2010/main" val="0"/>
                </a:ext>
              </a:extLst>
            </a:blip>
            <a:srcRect l="16721" r="16721"/>
            <a:stretch/>
          </p:blipFill>
          <p:spPr>
            <a:xfrm>
              <a:off x="3798000" y="4707228"/>
              <a:ext cx="1548000" cy="1548000"/>
            </a:xfrm>
            <a:prstGeom prst="ellipse">
              <a:avLst/>
            </a:prstGeom>
          </p:spPr>
        </p:pic>
      </p:grpSp>
      <p:grpSp>
        <p:nvGrpSpPr>
          <p:cNvPr id="22" name="Группа 21"/>
          <p:cNvGrpSpPr/>
          <p:nvPr/>
        </p:nvGrpSpPr>
        <p:grpSpPr>
          <a:xfrm>
            <a:off x="394700" y="4635994"/>
            <a:ext cx="1371303" cy="1371303"/>
            <a:chOff x="179512" y="4653272"/>
            <a:chExt cx="1512168" cy="1512168"/>
          </a:xfrm>
        </p:grpSpPr>
        <p:sp>
          <p:nvSpPr>
            <p:cNvPr id="86" name="Oval 85"/>
            <p:cNvSpPr/>
            <p:nvPr/>
          </p:nvSpPr>
          <p:spPr>
            <a:xfrm>
              <a:off x="179512" y="4653272"/>
              <a:ext cx="1512168" cy="1512168"/>
            </a:xfrm>
            <a:prstGeom prst="ellipse">
              <a:avLst/>
            </a:prstGeom>
            <a:noFill/>
            <a:ln w="25400">
              <a:solidFill>
                <a:srgbClr val="05BA99"/>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pic>
          <p:nvPicPr>
            <p:cNvPr id="19" name="Рисунок 18"/>
            <p:cNvPicPr>
              <a:picLocks noChangeAspect="1"/>
            </p:cNvPicPr>
            <p:nvPr/>
          </p:nvPicPr>
          <p:blipFill rotWithShape="1">
            <a:blip r:embed="rId14" cstate="print">
              <a:extLst>
                <a:ext uri="{28A0092B-C50C-407E-A947-70E740481C1C}">
                  <a14:useLocalDpi xmlns:a14="http://schemas.microsoft.com/office/drawing/2010/main" val="0"/>
                </a:ext>
              </a:extLst>
            </a:blip>
            <a:srcRect l="9243" t="-310" r="24195" b="310"/>
            <a:stretch/>
          </p:blipFill>
          <p:spPr>
            <a:xfrm>
              <a:off x="233596" y="4707356"/>
              <a:ext cx="1404000" cy="1404000"/>
            </a:xfrm>
            <a:prstGeom prst="ellipse">
              <a:avLst/>
            </a:prstGeom>
          </p:spPr>
        </p:pic>
      </p:grpSp>
      <p:grpSp>
        <p:nvGrpSpPr>
          <p:cNvPr id="21" name="Группа 20"/>
          <p:cNvGrpSpPr/>
          <p:nvPr/>
        </p:nvGrpSpPr>
        <p:grpSpPr>
          <a:xfrm>
            <a:off x="7408262" y="5175292"/>
            <a:ext cx="1224000" cy="1224000"/>
            <a:chOff x="7740352" y="5157328"/>
            <a:chExt cx="1224000" cy="1224000"/>
          </a:xfrm>
        </p:grpSpPr>
        <p:sp>
          <p:nvSpPr>
            <p:cNvPr id="85" name="Oval 84"/>
            <p:cNvSpPr/>
            <p:nvPr/>
          </p:nvSpPr>
          <p:spPr>
            <a:xfrm>
              <a:off x="7740352" y="5157328"/>
              <a:ext cx="1224000" cy="1224000"/>
            </a:xfrm>
            <a:prstGeom prst="ellipse">
              <a:avLst/>
            </a:prstGeom>
            <a:noFill/>
            <a:ln w="254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Рисунок 19"/>
            <p:cNvPicPr>
              <a:picLocks noChangeAspect="1"/>
            </p:cNvPicPr>
            <p:nvPr/>
          </p:nvPicPr>
          <p:blipFill rotWithShape="1">
            <a:blip r:embed="rId15" cstate="print">
              <a:extLst>
                <a:ext uri="{28A0092B-C50C-407E-A947-70E740481C1C}">
                  <a14:useLocalDpi xmlns:a14="http://schemas.microsoft.com/office/drawing/2010/main" val="0"/>
                </a:ext>
              </a:extLst>
            </a:blip>
            <a:srcRect l="24154" t="1974" r="9180" b="-1974"/>
            <a:stretch/>
          </p:blipFill>
          <p:spPr>
            <a:xfrm>
              <a:off x="7794352" y="5211328"/>
              <a:ext cx="1116000" cy="1116000"/>
            </a:xfrm>
            <a:prstGeom prst="ellipse">
              <a:avLst/>
            </a:prstGeom>
          </p:spPr>
        </p:pic>
      </p:grpSp>
      <p:grpSp>
        <p:nvGrpSpPr>
          <p:cNvPr id="24" name="Группа 23"/>
          <p:cNvGrpSpPr/>
          <p:nvPr/>
        </p:nvGrpSpPr>
        <p:grpSpPr>
          <a:xfrm>
            <a:off x="8250710" y="4715492"/>
            <a:ext cx="792088" cy="792088"/>
            <a:chOff x="7308304" y="4436976"/>
            <a:chExt cx="792088" cy="792088"/>
          </a:xfrm>
        </p:grpSpPr>
        <p:sp>
          <p:nvSpPr>
            <p:cNvPr id="98" name="Oval 97"/>
            <p:cNvSpPr/>
            <p:nvPr/>
          </p:nvSpPr>
          <p:spPr>
            <a:xfrm>
              <a:off x="7308304" y="4436976"/>
              <a:ext cx="792088" cy="792088"/>
            </a:xfrm>
            <a:prstGeom prst="ellipse">
              <a:avLst/>
            </a:prstGeom>
            <a:noFill/>
            <a:ln w="25400">
              <a:solidFill>
                <a:srgbClr val="00327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pic>
          <p:nvPicPr>
            <p:cNvPr id="23" name="Рисунок 22"/>
            <p:cNvPicPr>
              <a:picLocks noChangeAspect="1"/>
            </p:cNvPicPr>
            <p:nvPr/>
          </p:nvPicPr>
          <p:blipFill rotWithShape="1">
            <a:blip r:embed="rId16" cstate="print">
              <a:extLst>
                <a:ext uri="{28A0092B-C50C-407E-A947-70E740481C1C}">
                  <a14:useLocalDpi xmlns:a14="http://schemas.microsoft.com/office/drawing/2010/main" val="0"/>
                </a:ext>
              </a:extLst>
            </a:blip>
            <a:srcRect l="-755" t="49" r="34671" b="-49"/>
            <a:stretch/>
          </p:blipFill>
          <p:spPr>
            <a:xfrm>
              <a:off x="7362348" y="4491020"/>
              <a:ext cx="684000" cy="684000"/>
            </a:xfrm>
            <a:prstGeom prst="ellipse">
              <a:avLst/>
            </a:prstGeom>
          </p:spPr>
        </p:pic>
      </p:grpSp>
      <p:grpSp>
        <p:nvGrpSpPr>
          <p:cNvPr id="26" name="Группа 25"/>
          <p:cNvGrpSpPr/>
          <p:nvPr/>
        </p:nvGrpSpPr>
        <p:grpSpPr>
          <a:xfrm>
            <a:off x="5550132" y="4653136"/>
            <a:ext cx="792088" cy="792088"/>
            <a:chOff x="5580112" y="4653136"/>
            <a:chExt cx="792088" cy="792088"/>
          </a:xfrm>
        </p:grpSpPr>
        <p:sp>
          <p:nvSpPr>
            <p:cNvPr id="95" name="Oval 94"/>
            <p:cNvSpPr/>
            <p:nvPr/>
          </p:nvSpPr>
          <p:spPr>
            <a:xfrm>
              <a:off x="5580112" y="4653136"/>
              <a:ext cx="792088" cy="792088"/>
            </a:xfrm>
            <a:prstGeom prst="ellipse">
              <a:avLst/>
            </a:prstGeom>
            <a:noFill/>
            <a:ln w="25400">
              <a:solidFill>
                <a:srgbClr val="00327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25" name="Рисунок 24"/>
            <p:cNvPicPr>
              <a:picLocks noChangeAspect="1"/>
            </p:cNvPicPr>
            <p:nvPr/>
          </p:nvPicPr>
          <p:blipFill rotWithShape="1">
            <a:blip r:embed="rId17" cstate="print">
              <a:extLst>
                <a:ext uri="{28A0092B-C50C-407E-A947-70E740481C1C}">
                  <a14:useLocalDpi xmlns:a14="http://schemas.microsoft.com/office/drawing/2010/main" val="0"/>
                </a:ext>
              </a:extLst>
            </a:blip>
            <a:srcRect l="9191" t="-388" r="24143" b="388"/>
            <a:stretch/>
          </p:blipFill>
          <p:spPr>
            <a:xfrm>
              <a:off x="5634156" y="4707180"/>
              <a:ext cx="684000" cy="684000"/>
            </a:xfrm>
            <a:prstGeom prst="ellipse">
              <a:avLst/>
            </a:prstGeom>
          </p:spPr>
        </p:pic>
      </p:grpSp>
      <p:grpSp>
        <p:nvGrpSpPr>
          <p:cNvPr id="28" name="Группа 27"/>
          <p:cNvGrpSpPr/>
          <p:nvPr/>
        </p:nvGrpSpPr>
        <p:grpSpPr>
          <a:xfrm>
            <a:off x="6342220" y="5589240"/>
            <a:ext cx="792088" cy="792088"/>
            <a:chOff x="6372200" y="5589240"/>
            <a:chExt cx="792088" cy="792088"/>
          </a:xfrm>
        </p:grpSpPr>
        <p:sp>
          <p:nvSpPr>
            <p:cNvPr id="100" name="Oval 99"/>
            <p:cNvSpPr/>
            <p:nvPr/>
          </p:nvSpPr>
          <p:spPr>
            <a:xfrm>
              <a:off x="6372200" y="5589240"/>
              <a:ext cx="792088" cy="792088"/>
            </a:xfrm>
            <a:prstGeom prst="ellipse">
              <a:avLst/>
            </a:prstGeom>
            <a:noFill/>
            <a:ln w="25400">
              <a:solidFill>
                <a:srgbClr val="00327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Рисунок 26"/>
            <p:cNvPicPr>
              <a:picLocks noChangeAspect="1"/>
            </p:cNvPicPr>
            <p:nvPr/>
          </p:nvPicPr>
          <p:blipFill rotWithShape="1">
            <a:blip r:embed="rId18" cstate="print">
              <a:extLst>
                <a:ext uri="{28A0092B-C50C-407E-A947-70E740481C1C}">
                  <a14:useLocalDpi xmlns:a14="http://schemas.microsoft.com/office/drawing/2010/main" val="0"/>
                </a:ext>
              </a:extLst>
            </a:blip>
            <a:srcRect l="-295" t="-442" r="33555" b="442"/>
            <a:stretch/>
          </p:blipFill>
          <p:spPr>
            <a:xfrm>
              <a:off x="6426244" y="5643284"/>
              <a:ext cx="684000" cy="684000"/>
            </a:xfrm>
            <a:prstGeom prst="ellipse">
              <a:avLst/>
            </a:prstGeom>
          </p:spPr>
        </p:pic>
      </p:grpSp>
      <p:grpSp>
        <p:nvGrpSpPr>
          <p:cNvPr id="30" name="Группа 29"/>
          <p:cNvGrpSpPr/>
          <p:nvPr/>
        </p:nvGrpSpPr>
        <p:grpSpPr>
          <a:xfrm>
            <a:off x="2319547" y="4635911"/>
            <a:ext cx="1340368" cy="1340368"/>
            <a:chOff x="1970748" y="4609859"/>
            <a:chExt cx="1656184" cy="1656184"/>
          </a:xfrm>
        </p:grpSpPr>
        <p:sp>
          <p:nvSpPr>
            <p:cNvPr id="92" name="Oval 91"/>
            <p:cNvSpPr/>
            <p:nvPr/>
          </p:nvSpPr>
          <p:spPr>
            <a:xfrm>
              <a:off x="1970748" y="4609859"/>
              <a:ext cx="1656184" cy="1656184"/>
            </a:xfrm>
            <a:prstGeom prst="ellipse">
              <a:avLst/>
            </a:prstGeom>
            <a:noFill/>
            <a:ln w="254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pic>
          <p:nvPicPr>
            <p:cNvPr id="29" name="Рисунок 28"/>
            <p:cNvPicPr>
              <a:picLocks noChangeAspect="1"/>
            </p:cNvPicPr>
            <p:nvPr/>
          </p:nvPicPr>
          <p:blipFill rotWithShape="1">
            <a:blip r:embed="rId19" cstate="print">
              <a:extLst>
                <a:ext uri="{28A0092B-C50C-407E-A947-70E740481C1C}">
                  <a14:useLocalDpi xmlns:a14="http://schemas.microsoft.com/office/drawing/2010/main" val="0"/>
                </a:ext>
              </a:extLst>
            </a:blip>
            <a:srcRect l="12625" r="12625"/>
            <a:stretch/>
          </p:blipFill>
          <p:spPr>
            <a:xfrm>
              <a:off x="2024840" y="4663951"/>
              <a:ext cx="1548000" cy="1548000"/>
            </a:xfrm>
            <a:prstGeom prst="ellipse">
              <a:avLst/>
            </a:prstGeom>
          </p:spPr>
        </p:pic>
      </p:grpSp>
      <p:sp>
        <p:nvSpPr>
          <p:cNvPr id="2" name="Прямоугольник 1"/>
          <p:cNvSpPr/>
          <p:nvPr/>
        </p:nvSpPr>
        <p:spPr>
          <a:xfrm>
            <a:off x="473726" y="6281818"/>
            <a:ext cx="766407" cy="72008"/>
          </a:xfrm>
          <a:prstGeom prst="rect">
            <a:avLst/>
          </a:prstGeom>
          <a:solidFill>
            <a:srgbClr val="35C7A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Прямоугольник 74"/>
          <p:cNvSpPr/>
          <p:nvPr/>
        </p:nvSpPr>
        <p:spPr>
          <a:xfrm>
            <a:off x="3220152" y="6281818"/>
            <a:ext cx="766407" cy="72008"/>
          </a:xfrm>
          <a:prstGeom prst="rect">
            <a:avLst/>
          </a:prstGeom>
          <a:solidFill>
            <a:srgbClr val="0032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TextBox 13"/>
          <p:cNvSpPr txBox="1"/>
          <p:nvPr/>
        </p:nvSpPr>
        <p:spPr>
          <a:xfrm>
            <a:off x="1211164" y="6179322"/>
            <a:ext cx="2125739" cy="276999"/>
          </a:xfrm>
          <a:prstGeom prst="rect">
            <a:avLst/>
          </a:prstGeom>
          <a:noFill/>
        </p:spPr>
        <p:txBody>
          <a:bodyPr wrap="square" rtlCol="0">
            <a:spAutoFit/>
          </a:bodyPr>
          <a:lstStyle/>
          <a:p>
            <a:r>
              <a:rPr lang="en-US" sz="1200" dirty="0"/>
              <a:t>NPP construction abroad</a:t>
            </a:r>
            <a:endParaRPr lang="ru-RU" sz="1200" dirty="0"/>
          </a:p>
        </p:txBody>
      </p:sp>
      <p:sp>
        <p:nvSpPr>
          <p:cNvPr id="77" name="TextBox 76"/>
          <p:cNvSpPr txBox="1"/>
          <p:nvPr/>
        </p:nvSpPr>
        <p:spPr>
          <a:xfrm>
            <a:off x="3960140" y="6170819"/>
            <a:ext cx="2125739" cy="276999"/>
          </a:xfrm>
          <a:prstGeom prst="rect">
            <a:avLst/>
          </a:prstGeom>
          <a:noFill/>
        </p:spPr>
        <p:txBody>
          <a:bodyPr wrap="square" rtlCol="0">
            <a:spAutoFit/>
          </a:bodyPr>
          <a:lstStyle/>
          <a:p>
            <a:r>
              <a:rPr lang="en-US" sz="1200" dirty="0"/>
              <a:t>NPP construction in Russia</a:t>
            </a:r>
            <a:endParaRPr lang="ru-RU" sz="1200" dirty="0"/>
          </a:p>
        </p:txBody>
      </p:sp>
      <p:sp>
        <p:nvSpPr>
          <p:cNvPr id="18" name="Номер слайда 17"/>
          <p:cNvSpPr>
            <a:spLocks noGrp="1"/>
          </p:cNvSpPr>
          <p:nvPr>
            <p:ph type="sldNum" sz="quarter" idx="4"/>
          </p:nvPr>
        </p:nvSpPr>
        <p:spPr/>
        <p:txBody>
          <a:bodyPr/>
          <a:lstStyle/>
          <a:p>
            <a:fld id="{671F52DB-673C-4812-A1B7-CAD3549D9649}" type="slidenum">
              <a:rPr lang="ru-RU" smtClean="0">
                <a:sym typeface="Arial"/>
              </a:rPr>
              <a:pPr/>
              <a:t>5</a:t>
            </a:fld>
            <a:endParaRPr lang="ru-RU" dirty="0">
              <a:sym typeface="Arial"/>
            </a:endParaRPr>
          </a:p>
        </p:txBody>
      </p:sp>
      <p:grpSp>
        <p:nvGrpSpPr>
          <p:cNvPr id="17" name="Группа 16"/>
          <p:cNvGrpSpPr/>
          <p:nvPr/>
        </p:nvGrpSpPr>
        <p:grpSpPr>
          <a:xfrm>
            <a:off x="7300276" y="2058266"/>
            <a:ext cx="724292" cy="677566"/>
            <a:chOff x="7566004" y="1580751"/>
            <a:chExt cx="724292" cy="677566"/>
          </a:xfrm>
        </p:grpSpPr>
        <p:sp>
          <p:nvSpPr>
            <p:cNvPr id="97" name="Oval 96"/>
            <p:cNvSpPr/>
            <p:nvPr/>
          </p:nvSpPr>
          <p:spPr>
            <a:xfrm>
              <a:off x="7566004" y="1580751"/>
              <a:ext cx="724292" cy="677566"/>
            </a:xfrm>
            <a:prstGeom prst="ellipse">
              <a:avLst/>
            </a:prstGeom>
            <a:noFill/>
            <a:ln w="25400">
              <a:solidFill>
                <a:srgbClr val="00327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pic>
          <p:nvPicPr>
            <p:cNvPr id="225470" name="Picture 190" descr="ii_jj6rn4l70_16464177ef9d1b44"/>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603573" y="1623481"/>
              <a:ext cx="649154" cy="572721"/>
            </a:xfrm>
            <a:prstGeom prst="ellipse">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0" name="Oval 84"/>
          <p:cNvSpPr/>
          <p:nvPr/>
        </p:nvSpPr>
        <p:spPr>
          <a:xfrm>
            <a:off x="8092697" y="1954342"/>
            <a:ext cx="933190" cy="918473"/>
          </a:xfrm>
          <a:prstGeom prst="ellipse">
            <a:avLst/>
          </a:prstGeom>
          <a:noFill/>
          <a:ln w="254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82" name="Line Callout 1 (Accent Bar) 245"/>
          <p:cNvSpPr/>
          <p:nvPr/>
        </p:nvSpPr>
        <p:spPr>
          <a:xfrm rot="16200000">
            <a:off x="8472005" y="2577247"/>
            <a:ext cx="257369" cy="1005150"/>
          </a:xfrm>
          <a:prstGeom prst="accentCallout1">
            <a:avLst>
              <a:gd name="adj1" fmla="val 49555"/>
              <a:gd name="adj2" fmla="val 556"/>
              <a:gd name="adj3" fmla="val 38624"/>
              <a:gd name="adj4" fmla="val -170983"/>
            </a:avLst>
          </a:prstGeom>
          <a:noFill/>
          <a:ln w="19050">
            <a:solidFill>
              <a:schemeClr val="accent2"/>
            </a:solidFill>
            <a:round/>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wrap="square" lIns="36000" tIns="0" rIns="36000" bIns="0" rtlCol="0" anchor="ctr">
            <a:spAutoFit/>
          </a:bodyPr>
          <a:lstStyle/>
          <a:p>
            <a:pPr lvl="0" algn="ctr">
              <a:spcAft>
                <a:spcPts val="1800"/>
              </a:spcAft>
            </a:pPr>
            <a:r>
              <a:rPr lang="en-US" sz="1200" b="1" spc="10" dirty="0" err="1">
                <a:solidFill>
                  <a:schemeClr val="tx2"/>
                </a:solidFill>
              </a:rPr>
              <a:t>Tianwan</a:t>
            </a:r>
            <a:r>
              <a:rPr lang="en-US" sz="1200" b="1" spc="10" dirty="0">
                <a:solidFill>
                  <a:schemeClr val="tx2"/>
                </a:solidFill>
              </a:rPr>
              <a:t> 4</a:t>
            </a:r>
          </a:p>
        </p:txBody>
      </p:sp>
      <p:pic>
        <p:nvPicPr>
          <p:cNvPr id="31" name="Рисунок 3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123192" y="1995035"/>
            <a:ext cx="872985" cy="847628"/>
          </a:xfrm>
          <a:prstGeom prst="ellipse">
            <a:avLst/>
          </a:prstGeom>
        </p:spPr>
      </p:pic>
      <p:sp>
        <p:nvSpPr>
          <p:cNvPr id="79" name="Oval 57"/>
          <p:cNvSpPr>
            <a:spLocks noChangeAspect="1"/>
          </p:cNvSpPr>
          <p:nvPr/>
        </p:nvSpPr>
        <p:spPr>
          <a:xfrm>
            <a:off x="8236262" y="3571102"/>
            <a:ext cx="396000" cy="396000"/>
          </a:xfrm>
          <a:prstGeom prst="ellipse">
            <a:avLst/>
          </a:prstGeom>
          <a:solidFill>
            <a:srgbClr val="003272"/>
          </a:solidFill>
          <a:ln>
            <a:solidFill>
              <a:srgbClr val="003272"/>
            </a:solidFill>
          </a:ln>
        </p:spPr>
        <p:txBody>
          <a:bodyPr wrap="square" lIns="0" tIns="0" rIns="0" bIns="0" rtlCol="0" anchor="ctr">
            <a:noAutofit/>
          </a:bodyPr>
          <a:lstStyle/>
          <a:p>
            <a:pPr algn="ctr"/>
            <a:r>
              <a:rPr lang="en-US" sz="1000" dirty="0">
                <a:solidFill>
                  <a:schemeClr val="bg1"/>
                </a:solidFill>
              </a:rPr>
              <a:t>20</a:t>
            </a:r>
            <a:r>
              <a:rPr lang="ru-RU" sz="1000" dirty="0">
                <a:solidFill>
                  <a:schemeClr val="bg1"/>
                </a:solidFill>
              </a:rPr>
              <a:t>18</a:t>
            </a:r>
            <a:endParaRPr lang="en-US" sz="1000" dirty="0">
              <a:solidFill>
                <a:schemeClr val="bg1"/>
              </a:solidFill>
            </a:endParaRPr>
          </a:p>
        </p:txBody>
      </p:sp>
    </p:spTree>
    <p:extLst>
      <p:ext uri="{BB962C8B-B14F-4D97-AF65-F5344CB8AC3E}">
        <p14:creationId xmlns:p14="http://schemas.microsoft.com/office/powerpoint/2010/main" val="2709266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Прямоугольник 47"/>
          <p:cNvSpPr/>
          <p:nvPr/>
        </p:nvSpPr>
        <p:spPr>
          <a:xfrm>
            <a:off x="3854524" y="4549718"/>
            <a:ext cx="5400600" cy="892552"/>
          </a:xfrm>
          <a:prstGeom prst="rect">
            <a:avLst/>
          </a:prstGeom>
          <a:solidFill>
            <a:schemeClr val="accent1">
              <a:lumMod val="20000"/>
              <a:lumOff val="80000"/>
            </a:schemeClr>
          </a:solidFill>
          <a:ln w="28575">
            <a:solidFill>
              <a:srgbClr val="0070C0"/>
            </a:solidFill>
          </a:ln>
        </p:spPr>
        <p:txBody>
          <a:bodyPr wrap="square" lIns="288000">
            <a:spAutoFit/>
          </a:bodyPr>
          <a:lstStyle/>
          <a:p>
            <a:r>
              <a:rPr lang="en-US" sz="2000" b="1" cap="all" dirty="0">
                <a:solidFill>
                  <a:srgbClr val="FF0000"/>
                </a:solidFill>
                <a:latin typeface="Arial" panose="020B0604020202020204" pitchFamily="34" charset="0"/>
                <a:cs typeface="Arial" panose="020B0604020202020204" pitchFamily="34" charset="0"/>
              </a:rPr>
              <a:t> </a:t>
            </a:r>
            <a:r>
              <a:rPr lang="ru-RU" sz="2000" b="1" cap="all" dirty="0">
                <a:solidFill>
                  <a:srgbClr val="FF0000"/>
                </a:solidFill>
                <a:latin typeface="Arial" panose="020B0604020202020204" pitchFamily="34" charset="0"/>
                <a:cs typeface="Arial" panose="020B0604020202020204" pitchFamily="34" charset="0"/>
              </a:rPr>
              <a:t> </a:t>
            </a:r>
            <a:r>
              <a:rPr lang="en-US" sz="2000" b="1" cap="all" dirty="0">
                <a:solidFill>
                  <a:schemeClr val="bg2"/>
                </a:solidFill>
                <a:latin typeface="Arial" panose="020B0604020202020204" pitchFamily="34" charset="0"/>
                <a:cs typeface="Arial" panose="020B0604020202020204" pitchFamily="34" charset="0"/>
              </a:rPr>
              <a:t>MULTIPLE Subcontracts MODEL</a:t>
            </a:r>
            <a:endParaRPr lang="ru-RU" sz="2000" b="1" cap="all" dirty="0">
              <a:solidFill>
                <a:schemeClr val="bg2"/>
              </a:solidFill>
              <a:latin typeface="Arial" panose="020B0604020202020204" pitchFamily="34" charset="0"/>
              <a:cs typeface="Arial" panose="020B0604020202020204" pitchFamily="34" charset="0"/>
            </a:endParaRPr>
          </a:p>
          <a:p>
            <a:pPr lvl="0"/>
            <a:r>
              <a:rPr lang="en-US" sz="1600" cap="all" dirty="0">
                <a:solidFill>
                  <a:schemeClr val="bg2"/>
                </a:solidFill>
                <a:latin typeface="Arial" panose="020B0604020202020204" pitchFamily="34" charset="0"/>
                <a:cs typeface="Arial" panose="020B0604020202020204" pitchFamily="34" charset="0"/>
              </a:rPr>
              <a:t>    FRAMEWORK CONTRACT, Technical   </a:t>
            </a:r>
            <a:br>
              <a:rPr lang="en-US" sz="1600" cap="all" dirty="0">
                <a:solidFill>
                  <a:schemeClr val="bg2"/>
                </a:solidFill>
                <a:latin typeface="Arial" panose="020B0604020202020204" pitchFamily="34" charset="0"/>
                <a:cs typeface="Arial" panose="020B0604020202020204" pitchFamily="34" charset="0"/>
              </a:rPr>
            </a:br>
            <a:r>
              <a:rPr lang="en-US" sz="1600" cap="all" dirty="0">
                <a:solidFill>
                  <a:schemeClr val="bg2"/>
                </a:solidFill>
                <a:latin typeface="Arial" panose="020B0604020202020204" pitchFamily="34" charset="0"/>
                <a:cs typeface="Arial" panose="020B0604020202020204" pitchFamily="34" charset="0"/>
              </a:rPr>
              <a:t>     Design Contract, General contract </a:t>
            </a:r>
            <a:r>
              <a:rPr lang="en-US" sz="1600" dirty="0" err="1">
                <a:solidFill>
                  <a:srgbClr val="025EA1"/>
                </a:solidFill>
              </a:rPr>
              <a:t>etc</a:t>
            </a:r>
            <a:endParaRPr lang="en-US" sz="1600" cap="all" dirty="0">
              <a:solidFill>
                <a:srgbClr val="025EA1"/>
              </a:solidFill>
              <a:latin typeface="Arial" panose="020B0604020202020204" pitchFamily="34" charset="0"/>
              <a:cs typeface="Arial" panose="020B0604020202020204" pitchFamily="34" charset="0"/>
            </a:endParaRPr>
          </a:p>
        </p:txBody>
      </p:sp>
      <p:sp>
        <p:nvSpPr>
          <p:cNvPr id="60" name="Прямоугольник 50"/>
          <p:cNvSpPr/>
          <p:nvPr/>
        </p:nvSpPr>
        <p:spPr>
          <a:xfrm>
            <a:off x="468922" y="1528483"/>
            <a:ext cx="8418887" cy="338554"/>
          </a:xfrm>
          <a:prstGeom prst="rect">
            <a:avLst/>
          </a:prstGeom>
        </p:spPr>
        <p:txBody>
          <a:bodyPr wrap="square">
            <a:spAutoFit/>
          </a:bodyPr>
          <a:lstStyle/>
          <a:p>
            <a:pPr lvl="0">
              <a:spcAft>
                <a:spcPts val="600"/>
              </a:spcAft>
            </a:pPr>
            <a:endParaRPr lang="en-US" sz="1600" cap="all" dirty="0">
              <a:solidFill>
                <a:schemeClr val="bg2"/>
              </a:solidFill>
              <a:latin typeface="Arial" panose="020B0604020202020204" pitchFamily="34" charset="0"/>
              <a:cs typeface="Arial" panose="020B0604020202020204" pitchFamily="34" charset="0"/>
            </a:endParaRPr>
          </a:p>
        </p:txBody>
      </p:sp>
      <p:sp>
        <p:nvSpPr>
          <p:cNvPr id="61" name="Прямоугольник 60"/>
          <p:cNvSpPr/>
          <p:nvPr/>
        </p:nvSpPr>
        <p:spPr>
          <a:xfrm>
            <a:off x="3059832" y="1064930"/>
            <a:ext cx="6195292" cy="707886"/>
          </a:xfrm>
          <a:prstGeom prst="rect">
            <a:avLst/>
          </a:prstGeom>
          <a:solidFill>
            <a:schemeClr val="accent1">
              <a:lumMod val="20000"/>
              <a:lumOff val="80000"/>
            </a:schemeClr>
          </a:solidFill>
          <a:ln w="28575">
            <a:solidFill>
              <a:schemeClr val="bg2"/>
            </a:solidFill>
          </a:ln>
        </p:spPr>
        <p:txBody>
          <a:bodyPr wrap="square" lIns="288000">
            <a:spAutoFit/>
          </a:bodyPr>
          <a:lstStyle/>
          <a:p>
            <a:r>
              <a:rPr lang="en-US" sz="2000" b="1" cap="all" dirty="0">
                <a:solidFill>
                  <a:schemeClr val="bg2"/>
                </a:solidFill>
                <a:latin typeface="Arial" panose="020B0604020202020204" pitchFamily="34" charset="0"/>
                <a:cs typeface="Arial" panose="020B0604020202020204" pitchFamily="34" charset="0"/>
              </a:rPr>
              <a:t> EPC Model</a:t>
            </a:r>
            <a:br>
              <a:rPr lang="en-US" sz="2000" b="1" cap="all" dirty="0">
                <a:solidFill>
                  <a:schemeClr val="bg2"/>
                </a:solidFill>
                <a:latin typeface="Arial" panose="020B0604020202020204" pitchFamily="34" charset="0"/>
                <a:cs typeface="Arial" panose="020B0604020202020204" pitchFamily="34" charset="0"/>
              </a:rPr>
            </a:br>
            <a:r>
              <a:rPr lang="en-US" sz="2000" b="1" cap="all" dirty="0">
                <a:solidFill>
                  <a:schemeClr val="bg2"/>
                </a:solidFill>
                <a:latin typeface="Arial" panose="020B0604020202020204" pitchFamily="34" charset="0"/>
                <a:cs typeface="Arial" panose="020B0604020202020204" pitchFamily="34" charset="0"/>
              </a:rPr>
              <a:t>  </a:t>
            </a:r>
            <a:r>
              <a:rPr lang="en-US" sz="1600" cap="all" dirty="0">
                <a:solidFill>
                  <a:schemeClr val="bg2"/>
                </a:solidFill>
                <a:latin typeface="Arial" panose="020B0604020202020204" pitchFamily="34" charset="0"/>
                <a:cs typeface="Arial" panose="020B0604020202020204" pitchFamily="34" charset="0"/>
              </a:rPr>
              <a:t>Engineering, procurement, Construction</a:t>
            </a:r>
          </a:p>
        </p:txBody>
      </p:sp>
      <p:sp>
        <p:nvSpPr>
          <p:cNvPr id="93" name="Номер слайда 2"/>
          <p:cNvSpPr>
            <a:spLocks noGrp="1"/>
          </p:cNvSpPr>
          <p:nvPr>
            <p:ph type="sldNum" sz="quarter" idx="4"/>
          </p:nvPr>
        </p:nvSpPr>
        <p:spPr/>
        <p:txBody>
          <a:bodyPr/>
          <a:lstStyle/>
          <a:p>
            <a:fld id="{671F52DB-673C-4812-A1B7-CAD3549D9649}" type="slidenum">
              <a:rPr lang="ru-RU" smtClean="0">
                <a:sym typeface="Arial"/>
              </a:rPr>
              <a:pPr/>
              <a:t>6</a:t>
            </a:fld>
            <a:endParaRPr lang="ru-RU" dirty="0">
              <a:sym typeface="Arial"/>
            </a:endParaRPr>
          </a:p>
        </p:txBody>
      </p:sp>
      <p:sp>
        <p:nvSpPr>
          <p:cNvPr id="3" name="Заголовок 2"/>
          <p:cNvSpPr>
            <a:spLocks noGrp="1"/>
          </p:cNvSpPr>
          <p:nvPr>
            <p:ph type="title"/>
          </p:nvPr>
        </p:nvSpPr>
        <p:spPr>
          <a:xfrm>
            <a:off x="468923" y="3"/>
            <a:ext cx="5906973" cy="962025"/>
          </a:xfrm>
        </p:spPr>
        <p:txBody>
          <a:bodyPr/>
          <a:lstStyle/>
          <a:p>
            <a:r>
              <a:rPr lang="en-US" dirty="0"/>
              <a:t>IMPLEMENTING VARIOUS MODELS: FLEXIBILITY FOR PROJECTS</a:t>
            </a:r>
            <a:endParaRPr lang="ru-RU" dirty="0"/>
          </a:p>
        </p:txBody>
      </p:sp>
      <p:sp>
        <p:nvSpPr>
          <p:cNvPr id="2" name="Прямоугольник 1"/>
          <p:cNvSpPr/>
          <p:nvPr/>
        </p:nvSpPr>
        <p:spPr>
          <a:xfrm>
            <a:off x="3566492" y="2972299"/>
            <a:ext cx="5688632" cy="646331"/>
          </a:xfrm>
          <a:prstGeom prst="rect">
            <a:avLst/>
          </a:prstGeom>
          <a:solidFill>
            <a:schemeClr val="accent1">
              <a:lumMod val="20000"/>
              <a:lumOff val="80000"/>
            </a:schemeClr>
          </a:solidFill>
          <a:ln w="28575">
            <a:solidFill>
              <a:srgbClr val="0070C0"/>
            </a:solidFill>
          </a:ln>
        </p:spPr>
        <p:txBody>
          <a:bodyPr wrap="square" lIns="288000">
            <a:spAutoFit/>
          </a:bodyPr>
          <a:lstStyle/>
          <a:p>
            <a:r>
              <a:rPr lang="en-US" sz="2000" b="1" cap="all" dirty="0">
                <a:solidFill>
                  <a:schemeClr val="bg2"/>
                </a:solidFill>
                <a:latin typeface="Arial" panose="020B0604020202020204" pitchFamily="34" charset="0"/>
                <a:cs typeface="Arial" panose="020B0604020202020204" pitchFamily="34" charset="0"/>
              </a:rPr>
              <a:t> </a:t>
            </a:r>
            <a:r>
              <a:rPr lang="ru-RU" sz="2000" b="1" cap="all" dirty="0">
                <a:solidFill>
                  <a:schemeClr val="bg2"/>
                </a:solidFill>
                <a:latin typeface="Arial" panose="020B0604020202020204" pitchFamily="34" charset="0"/>
                <a:cs typeface="Arial" panose="020B0604020202020204" pitchFamily="34" charset="0"/>
              </a:rPr>
              <a:t>ВОО</a:t>
            </a:r>
            <a:r>
              <a:rPr lang="en-US" sz="2000" b="1" cap="all" dirty="0">
                <a:solidFill>
                  <a:schemeClr val="bg2"/>
                </a:solidFill>
                <a:latin typeface="Arial" panose="020B0604020202020204" pitchFamily="34" charset="0"/>
                <a:cs typeface="Arial" panose="020B0604020202020204" pitchFamily="34" charset="0"/>
              </a:rPr>
              <a:t> MODEL</a:t>
            </a:r>
            <a:endParaRPr lang="ru-RU" sz="2000" b="1" cap="all" dirty="0">
              <a:solidFill>
                <a:schemeClr val="bg2"/>
              </a:solidFill>
              <a:latin typeface="Arial" panose="020B0604020202020204" pitchFamily="34" charset="0"/>
              <a:cs typeface="Arial" panose="020B0604020202020204" pitchFamily="34" charset="0"/>
            </a:endParaRPr>
          </a:p>
          <a:p>
            <a:pPr lvl="0"/>
            <a:r>
              <a:rPr lang="en-US" sz="1600" cap="all" dirty="0">
                <a:solidFill>
                  <a:schemeClr val="bg2"/>
                </a:solidFill>
                <a:latin typeface="Arial" panose="020B0604020202020204" pitchFamily="34" charset="0"/>
                <a:cs typeface="Arial" panose="020B0604020202020204" pitchFamily="34" charset="0"/>
              </a:rPr>
              <a:t>   BUILT, OWN, OPERATE</a:t>
            </a:r>
          </a:p>
        </p:txBody>
      </p:sp>
      <p:grpSp>
        <p:nvGrpSpPr>
          <p:cNvPr id="10" name="Группа 9"/>
          <p:cNvGrpSpPr/>
          <p:nvPr/>
        </p:nvGrpSpPr>
        <p:grpSpPr>
          <a:xfrm>
            <a:off x="4378800" y="3790247"/>
            <a:ext cx="2713480" cy="576000"/>
            <a:chOff x="5314904" y="5557314"/>
            <a:chExt cx="2713480" cy="576000"/>
          </a:xfrm>
        </p:grpSpPr>
        <p:sp>
          <p:nvSpPr>
            <p:cNvPr id="91" name="TextBox 90"/>
            <p:cNvSpPr txBox="1"/>
            <p:nvPr/>
          </p:nvSpPr>
          <p:spPr>
            <a:xfrm>
              <a:off x="6484345" y="5660648"/>
              <a:ext cx="1544039" cy="369332"/>
            </a:xfrm>
            <a:prstGeom prst="rect">
              <a:avLst/>
            </a:prstGeom>
            <a:noFill/>
          </p:spPr>
          <p:txBody>
            <a:bodyPr wrap="square" rtlCol="0">
              <a:spAutoFit/>
            </a:bodyPr>
            <a:lstStyle/>
            <a:p>
              <a:r>
                <a:rPr lang="en-US" dirty="0"/>
                <a:t>Finland</a:t>
              </a:r>
              <a:endParaRPr lang="ru-RU" dirty="0"/>
            </a:p>
          </p:txBody>
        </p:sp>
        <p:pic>
          <p:nvPicPr>
            <p:cNvPr id="36" name="Рисунок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14904" y="5557314"/>
              <a:ext cx="864000" cy="576000"/>
            </a:xfrm>
            <a:prstGeom prst="rect">
              <a:avLst/>
            </a:prstGeom>
            <a:ln w="9525">
              <a:solidFill>
                <a:schemeClr val="bg1">
                  <a:lumMod val="75000"/>
                </a:schemeClr>
              </a:solidFill>
            </a:ln>
          </p:spPr>
        </p:pic>
      </p:grpSp>
      <p:grpSp>
        <p:nvGrpSpPr>
          <p:cNvPr id="9" name="Группа 8"/>
          <p:cNvGrpSpPr/>
          <p:nvPr/>
        </p:nvGrpSpPr>
        <p:grpSpPr>
          <a:xfrm>
            <a:off x="6750386" y="3777576"/>
            <a:ext cx="2388177" cy="576000"/>
            <a:chOff x="1535751" y="5550180"/>
            <a:chExt cx="2388177" cy="576000"/>
          </a:xfrm>
        </p:grpSpPr>
        <p:sp>
          <p:nvSpPr>
            <p:cNvPr id="32" name="TextBox 31"/>
            <p:cNvSpPr txBox="1"/>
            <p:nvPr/>
          </p:nvSpPr>
          <p:spPr>
            <a:xfrm>
              <a:off x="2745512" y="5660648"/>
              <a:ext cx="1178416" cy="369332"/>
            </a:xfrm>
            <a:prstGeom prst="rect">
              <a:avLst/>
            </a:prstGeom>
            <a:noFill/>
          </p:spPr>
          <p:txBody>
            <a:bodyPr wrap="square" rtlCol="0">
              <a:spAutoFit/>
            </a:bodyPr>
            <a:lstStyle/>
            <a:p>
              <a:r>
                <a:rPr lang="en-US" dirty="0"/>
                <a:t>Turkey</a:t>
              </a:r>
              <a:endParaRPr lang="ru-RU" dirty="0"/>
            </a:p>
          </p:txBody>
        </p:sp>
        <p:pic>
          <p:nvPicPr>
            <p:cNvPr id="37" name="Рисунок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35751" y="5550180"/>
              <a:ext cx="864000" cy="576000"/>
            </a:xfrm>
            <a:prstGeom prst="rect">
              <a:avLst/>
            </a:prstGeom>
            <a:ln w="9525">
              <a:solidFill>
                <a:schemeClr val="bg1">
                  <a:lumMod val="75000"/>
                </a:schemeClr>
              </a:solidFill>
            </a:ln>
          </p:spPr>
        </p:pic>
      </p:grpSp>
      <p:grpSp>
        <p:nvGrpSpPr>
          <p:cNvPr id="13" name="Группа 12"/>
          <p:cNvGrpSpPr/>
          <p:nvPr/>
        </p:nvGrpSpPr>
        <p:grpSpPr>
          <a:xfrm>
            <a:off x="7092280" y="5638412"/>
            <a:ext cx="1965174" cy="576000"/>
            <a:chOff x="6756516" y="2221192"/>
            <a:chExt cx="1965174" cy="576000"/>
          </a:xfrm>
        </p:grpSpPr>
        <p:sp>
          <p:nvSpPr>
            <p:cNvPr id="67" name="TextBox 66"/>
            <p:cNvSpPr txBox="1"/>
            <p:nvPr/>
          </p:nvSpPr>
          <p:spPr>
            <a:xfrm>
              <a:off x="7543274" y="2324526"/>
              <a:ext cx="1178416" cy="369332"/>
            </a:xfrm>
            <a:prstGeom prst="rect">
              <a:avLst/>
            </a:prstGeom>
            <a:noFill/>
          </p:spPr>
          <p:txBody>
            <a:bodyPr wrap="square" rtlCol="0">
              <a:spAutoFit/>
            </a:bodyPr>
            <a:lstStyle/>
            <a:p>
              <a:r>
                <a:rPr lang="en-US" dirty="0"/>
                <a:t>  India</a:t>
              </a:r>
              <a:endParaRPr lang="ru-RU" dirty="0"/>
            </a:p>
          </p:txBody>
        </p:sp>
        <p:pic>
          <p:nvPicPr>
            <p:cNvPr id="41" name="Рисунок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56516" y="2221192"/>
              <a:ext cx="859888" cy="576000"/>
            </a:xfrm>
            <a:prstGeom prst="rect">
              <a:avLst/>
            </a:prstGeom>
            <a:ln w="9525">
              <a:solidFill>
                <a:schemeClr val="bg1">
                  <a:lumMod val="75000"/>
                </a:schemeClr>
              </a:solidFill>
            </a:ln>
          </p:spPr>
        </p:pic>
      </p:grpSp>
      <p:grpSp>
        <p:nvGrpSpPr>
          <p:cNvPr id="12" name="Группа 11"/>
          <p:cNvGrpSpPr/>
          <p:nvPr/>
        </p:nvGrpSpPr>
        <p:grpSpPr>
          <a:xfrm>
            <a:off x="4022787" y="1858105"/>
            <a:ext cx="1635483" cy="438231"/>
            <a:chOff x="4180320" y="3234373"/>
            <a:chExt cx="2149638" cy="576000"/>
          </a:xfrm>
        </p:grpSpPr>
        <p:sp>
          <p:nvSpPr>
            <p:cNvPr id="66" name="TextBox 65"/>
            <p:cNvSpPr txBox="1"/>
            <p:nvPr/>
          </p:nvSpPr>
          <p:spPr>
            <a:xfrm>
              <a:off x="5151542" y="3337707"/>
              <a:ext cx="1178416" cy="369332"/>
            </a:xfrm>
            <a:prstGeom prst="rect">
              <a:avLst/>
            </a:prstGeom>
            <a:noFill/>
          </p:spPr>
          <p:txBody>
            <a:bodyPr wrap="square" rtlCol="0">
              <a:spAutoFit/>
            </a:bodyPr>
            <a:lstStyle/>
            <a:p>
              <a:r>
                <a:rPr lang="en-US" dirty="0"/>
                <a:t> Egypt</a:t>
              </a:r>
              <a:endParaRPr lang="ru-RU" dirty="0"/>
            </a:p>
          </p:txBody>
        </p:sp>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80320" y="3234373"/>
              <a:ext cx="859886" cy="576000"/>
            </a:xfrm>
            <a:prstGeom prst="rect">
              <a:avLst/>
            </a:prstGeom>
            <a:ln w="9525">
              <a:solidFill>
                <a:schemeClr val="bg1">
                  <a:lumMod val="75000"/>
                </a:schemeClr>
              </a:solidFill>
            </a:ln>
          </p:spPr>
        </p:pic>
      </p:grpSp>
      <p:grpSp>
        <p:nvGrpSpPr>
          <p:cNvPr id="11" name="Группа 10"/>
          <p:cNvGrpSpPr/>
          <p:nvPr/>
        </p:nvGrpSpPr>
        <p:grpSpPr>
          <a:xfrm>
            <a:off x="4284784" y="2420888"/>
            <a:ext cx="2016224" cy="450003"/>
            <a:chOff x="1216349" y="2206714"/>
            <a:chExt cx="2944504" cy="657186"/>
          </a:xfrm>
        </p:grpSpPr>
        <p:sp>
          <p:nvSpPr>
            <p:cNvPr id="65" name="TextBox 64"/>
            <p:cNvSpPr txBox="1"/>
            <p:nvPr/>
          </p:nvSpPr>
          <p:spPr>
            <a:xfrm>
              <a:off x="2176847" y="2324526"/>
              <a:ext cx="1984006" cy="539374"/>
            </a:xfrm>
            <a:prstGeom prst="rect">
              <a:avLst/>
            </a:prstGeom>
            <a:noFill/>
          </p:spPr>
          <p:txBody>
            <a:bodyPr wrap="square" rtlCol="0">
              <a:spAutoFit/>
            </a:bodyPr>
            <a:lstStyle/>
            <a:p>
              <a:r>
                <a:rPr lang="en-US" dirty="0"/>
                <a:t>Belarus</a:t>
              </a:r>
              <a:endParaRPr lang="ru-RU" dirty="0"/>
            </a:p>
          </p:txBody>
        </p:sp>
        <p:pic>
          <p:nvPicPr>
            <p:cNvPr id="45" name="Рисунок 4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16349" y="2206714"/>
              <a:ext cx="955422" cy="641497"/>
            </a:xfrm>
            <a:prstGeom prst="rect">
              <a:avLst/>
            </a:prstGeom>
            <a:ln w="9525">
              <a:solidFill>
                <a:schemeClr val="bg1">
                  <a:lumMod val="75000"/>
                </a:schemeClr>
              </a:solidFill>
            </a:ln>
          </p:spPr>
        </p:pic>
      </p:grpSp>
      <p:sp>
        <p:nvSpPr>
          <p:cNvPr id="33" name="TextBox 32"/>
          <p:cNvSpPr txBox="1"/>
          <p:nvPr/>
        </p:nvSpPr>
        <p:spPr>
          <a:xfrm>
            <a:off x="5639859" y="5748332"/>
            <a:ext cx="1178416" cy="369332"/>
          </a:xfrm>
          <a:prstGeom prst="rect">
            <a:avLst/>
          </a:prstGeom>
          <a:noFill/>
        </p:spPr>
        <p:txBody>
          <a:bodyPr wrap="square" rtlCol="0">
            <a:spAutoFit/>
          </a:bodyPr>
          <a:lstStyle/>
          <a:p>
            <a:r>
              <a:rPr lang="en-US" dirty="0"/>
              <a:t>  China</a:t>
            </a:r>
            <a:endParaRPr lang="ru-RU" dirty="0"/>
          </a:p>
        </p:txBody>
      </p:sp>
      <p:pic>
        <p:nvPicPr>
          <p:cNvPr id="34" name="Рисунок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10532" y="5638412"/>
            <a:ext cx="857872" cy="576000"/>
          </a:xfrm>
          <a:prstGeom prst="rect">
            <a:avLst/>
          </a:prstGeom>
          <a:ln w="9525">
            <a:solidFill>
              <a:schemeClr val="bg1">
                <a:lumMod val="75000"/>
              </a:schemeClr>
            </a:solidFill>
          </a:ln>
        </p:spPr>
      </p:pic>
      <p:grpSp>
        <p:nvGrpSpPr>
          <p:cNvPr id="4" name="Группа 3"/>
          <p:cNvGrpSpPr/>
          <p:nvPr/>
        </p:nvGrpSpPr>
        <p:grpSpPr>
          <a:xfrm>
            <a:off x="6375896" y="2425819"/>
            <a:ext cx="2198320" cy="445071"/>
            <a:chOff x="5883887" y="2247392"/>
            <a:chExt cx="2999292" cy="607235"/>
          </a:xfrm>
        </p:grpSpPr>
        <p:sp>
          <p:nvSpPr>
            <p:cNvPr id="35" name="TextBox 34"/>
            <p:cNvSpPr txBox="1"/>
            <p:nvPr/>
          </p:nvSpPr>
          <p:spPr>
            <a:xfrm>
              <a:off x="6844384" y="2350726"/>
              <a:ext cx="2038795" cy="503901"/>
            </a:xfrm>
            <a:prstGeom prst="rect">
              <a:avLst/>
            </a:prstGeom>
            <a:noFill/>
          </p:spPr>
          <p:txBody>
            <a:bodyPr wrap="square" rtlCol="0">
              <a:spAutoFit/>
            </a:bodyPr>
            <a:lstStyle/>
            <a:p>
              <a:r>
                <a:rPr lang="en-US" dirty="0">
                  <a:cs typeface="Arial" pitchFamily="34" charset="0"/>
                </a:rPr>
                <a:t>Bangladesh</a:t>
              </a:r>
              <a:endParaRPr lang="ru-RU" dirty="0"/>
            </a:p>
          </p:txBody>
        </p:sp>
        <p:pic>
          <p:nvPicPr>
            <p:cNvPr id="38" name="Рисунок 3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83887" y="2247392"/>
              <a:ext cx="864000" cy="576000"/>
            </a:xfrm>
            <a:prstGeom prst="rect">
              <a:avLst/>
            </a:prstGeom>
            <a:ln w="9525">
              <a:solidFill>
                <a:schemeClr val="bg1">
                  <a:lumMod val="75000"/>
                </a:schemeClr>
              </a:solidFill>
            </a:ln>
          </p:spPr>
        </p:pic>
      </p:grpSp>
      <p:grpSp>
        <p:nvGrpSpPr>
          <p:cNvPr id="5" name="Группа 4"/>
          <p:cNvGrpSpPr/>
          <p:nvPr/>
        </p:nvGrpSpPr>
        <p:grpSpPr>
          <a:xfrm>
            <a:off x="6119213" y="1867037"/>
            <a:ext cx="1788521" cy="422795"/>
            <a:chOff x="6962202" y="2017743"/>
            <a:chExt cx="2448272" cy="578756"/>
          </a:xfrm>
        </p:grpSpPr>
        <p:pic>
          <p:nvPicPr>
            <p:cNvPr id="31" name="Рисунок 3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962202" y="2017743"/>
              <a:ext cx="864000" cy="578756"/>
            </a:xfrm>
            <a:prstGeom prst="rect">
              <a:avLst/>
            </a:prstGeom>
            <a:ln w="9525">
              <a:solidFill>
                <a:schemeClr val="bg1">
                  <a:lumMod val="75000"/>
                </a:schemeClr>
              </a:solidFill>
            </a:ln>
          </p:spPr>
        </p:pic>
        <p:sp>
          <p:nvSpPr>
            <p:cNvPr id="46" name="TextBox 45"/>
            <p:cNvSpPr txBox="1"/>
            <p:nvPr/>
          </p:nvSpPr>
          <p:spPr>
            <a:xfrm>
              <a:off x="7922700" y="2123215"/>
              <a:ext cx="1487774" cy="369332"/>
            </a:xfrm>
            <a:prstGeom prst="rect">
              <a:avLst/>
            </a:prstGeom>
            <a:noFill/>
          </p:spPr>
          <p:txBody>
            <a:bodyPr wrap="square" rtlCol="0">
              <a:spAutoFit/>
            </a:bodyPr>
            <a:lstStyle/>
            <a:p>
              <a:r>
                <a:rPr lang="en-US" dirty="0">
                  <a:cs typeface="Arial" pitchFamily="34" charset="0"/>
                </a:rPr>
                <a:t>Hungary</a:t>
              </a:r>
              <a:endParaRPr lang="ru-RU" dirty="0"/>
            </a:p>
          </p:txBody>
        </p:sp>
      </p:grpSp>
      <p:sp>
        <p:nvSpPr>
          <p:cNvPr id="39" name="Блок-схема: задержка 42"/>
          <p:cNvSpPr/>
          <p:nvPr/>
        </p:nvSpPr>
        <p:spPr>
          <a:xfrm rot="10800000" flipV="1">
            <a:off x="-3420887" y="1000129"/>
            <a:ext cx="7920879" cy="5353360"/>
          </a:xfrm>
          <a:prstGeom prst="parallelogram">
            <a:avLst/>
          </a:prstGeom>
          <a:solidFill>
            <a:schemeClr val="bg1"/>
          </a:solidFill>
          <a:ln w="38100" cap="rnd">
            <a:gradFill>
              <a:gsLst>
                <a:gs pos="0">
                  <a:srgbClr val="94D6C7">
                    <a:alpha val="0"/>
                  </a:srgbClr>
                </a:gs>
                <a:gs pos="100000">
                  <a:schemeClr val="bg1"/>
                </a:gs>
                <a:gs pos="0">
                  <a:schemeClr val="bg1"/>
                </a:gs>
                <a:gs pos="0">
                  <a:schemeClr val="bg1">
                    <a:alpha val="0"/>
                  </a:schemeClr>
                </a:gs>
                <a:gs pos="100000">
                  <a:schemeClr val="accent1">
                    <a:lumMod val="0"/>
                    <a:lumOff val="100000"/>
                    <a:alpha val="0"/>
                  </a:schemeClr>
                </a:gs>
                <a:gs pos="5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dirty="0">
              <a:solidFill>
                <a:srgbClr val="FFFFFF"/>
              </a:solidFill>
            </a:endParaRPr>
          </a:p>
        </p:txBody>
      </p:sp>
      <p:sp>
        <p:nvSpPr>
          <p:cNvPr id="6" name="Прямоугольник 5"/>
          <p:cNvSpPr/>
          <p:nvPr/>
        </p:nvSpPr>
        <p:spPr>
          <a:xfrm>
            <a:off x="395536" y="1863669"/>
            <a:ext cx="3048734" cy="830997"/>
          </a:xfrm>
          <a:prstGeom prst="rect">
            <a:avLst/>
          </a:prstGeom>
        </p:spPr>
        <p:txBody>
          <a:bodyPr wrap="square">
            <a:spAutoFit/>
          </a:bodyPr>
          <a:lstStyle/>
          <a:p>
            <a:r>
              <a:rPr lang="en-US" sz="2400" b="1" dirty="0">
                <a:solidFill>
                  <a:schemeClr val="accent1"/>
                </a:solidFill>
              </a:rPr>
              <a:t>FINANCIAL FLEXIBILITY:</a:t>
            </a:r>
            <a:endParaRPr lang="ru-RU" sz="2400" b="1" dirty="0">
              <a:solidFill>
                <a:schemeClr val="accent1"/>
              </a:solidFill>
            </a:endParaRPr>
          </a:p>
        </p:txBody>
      </p:sp>
      <p:sp>
        <p:nvSpPr>
          <p:cNvPr id="7" name="Прямоугольник 6"/>
          <p:cNvSpPr/>
          <p:nvPr/>
        </p:nvSpPr>
        <p:spPr>
          <a:xfrm>
            <a:off x="395536" y="2811877"/>
            <a:ext cx="3288041" cy="2677656"/>
          </a:xfrm>
          <a:prstGeom prst="rect">
            <a:avLst/>
          </a:prstGeom>
        </p:spPr>
        <p:txBody>
          <a:bodyPr wrap="square">
            <a:spAutoFit/>
          </a:bodyPr>
          <a:lstStyle/>
          <a:p>
            <a:r>
              <a:rPr lang="en-US" sz="2400" dirty="0">
                <a:solidFill>
                  <a:schemeClr val="bg2"/>
                </a:solidFill>
              </a:rPr>
              <a:t>Rosatom provides </a:t>
            </a:r>
            <a:r>
              <a:rPr lang="ru-RU" sz="2400" dirty="0" err="1">
                <a:solidFill>
                  <a:schemeClr val="bg2"/>
                </a:solidFill>
              </a:rPr>
              <a:t>opportunit</a:t>
            </a:r>
            <a:r>
              <a:rPr lang="en-US" sz="2400" dirty="0">
                <a:solidFill>
                  <a:schemeClr val="bg2"/>
                </a:solidFill>
              </a:rPr>
              <a:t>y</a:t>
            </a:r>
            <a:r>
              <a:rPr lang="ru-RU" sz="2400" dirty="0">
                <a:solidFill>
                  <a:schemeClr val="bg2"/>
                </a:solidFill>
              </a:rPr>
              <a:t> </a:t>
            </a:r>
            <a:r>
              <a:rPr lang="en-US" sz="2400" dirty="0">
                <a:solidFill>
                  <a:schemeClr val="bg2"/>
                </a:solidFill>
              </a:rPr>
              <a:t>to </a:t>
            </a:r>
            <a:r>
              <a:rPr lang="ru-RU" sz="2400" dirty="0" err="1">
                <a:solidFill>
                  <a:schemeClr val="bg2"/>
                </a:solidFill>
              </a:rPr>
              <a:t>implement</a:t>
            </a:r>
            <a:r>
              <a:rPr lang="ru-RU" sz="2400" dirty="0">
                <a:solidFill>
                  <a:schemeClr val="bg2"/>
                </a:solidFill>
              </a:rPr>
              <a:t> </a:t>
            </a:r>
            <a:r>
              <a:rPr lang="en-US" sz="2400" b="1" dirty="0">
                <a:solidFill>
                  <a:schemeClr val="bg2"/>
                </a:solidFill>
              </a:rPr>
              <a:t>VARIOUS FINANCIAL </a:t>
            </a:r>
            <a:r>
              <a:rPr lang="ru-RU" sz="2400" b="1" dirty="0">
                <a:solidFill>
                  <a:schemeClr val="bg2"/>
                </a:solidFill>
              </a:rPr>
              <a:t>MODELS </a:t>
            </a:r>
            <a:r>
              <a:rPr lang="ru-RU" sz="2400" dirty="0" err="1">
                <a:solidFill>
                  <a:schemeClr val="bg2"/>
                </a:solidFill>
              </a:rPr>
              <a:t>depending</a:t>
            </a:r>
            <a:r>
              <a:rPr lang="ru-RU" sz="2400" dirty="0">
                <a:solidFill>
                  <a:schemeClr val="bg2"/>
                </a:solidFill>
              </a:rPr>
              <a:t> </a:t>
            </a:r>
            <a:r>
              <a:rPr lang="ru-RU" sz="2400" dirty="0" err="1">
                <a:solidFill>
                  <a:schemeClr val="bg2"/>
                </a:solidFill>
              </a:rPr>
              <a:t>on</a:t>
            </a:r>
            <a:r>
              <a:rPr lang="ru-RU" sz="2400" dirty="0">
                <a:solidFill>
                  <a:schemeClr val="bg2"/>
                </a:solidFill>
              </a:rPr>
              <a:t> </a:t>
            </a:r>
            <a:r>
              <a:rPr lang="ru-RU" sz="2400" dirty="0" err="1">
                <a:solidFill>
                  <a:schemeClr val="bg2"/>
                </a:solidFill>
              </a:rPr>
              <a:t>the</a:t>
            </a:r>
            <a:r>
              <a:rPr lang="ru-RU" sz="2400" dirty="0">
                <a:solidFill>
                  <a:schemeClr val="bg2"/>
                </a:solidFill>
              </a:rPr>
              <a:t> </a:t>
            </a:r>
            <a:r>
              <a:rPr lang="en-US" sz="2400" dirty="0">
                <a:solidFill>
                  <a:schemeClr val="bg2"/>
                </a:solidFill>
              </a:rPr>
              <a:t>special features of the partner country</a:t>
            </a:r>
            <a:endParaRPr lang="ru-RU" sz="2400" dirty="0">
              <a:solidFill>
                <a:schemeClr val="bg2"/>
              </a:solidFill>
            </a:endParaRPr>
          </a:p>
        </p:txBody>
      </p:sp>
    </p:spTree>
    <p:extLst>
      <p:ext uri="{BB962C8B-B14F-4D97-AF65-F5344CB8AC3E}">
        <p14:creationId xmlns:p14="http://schemas.microsoft.com/office/powerpoint/2010/main" val="6475676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64" name="Номер слайда"/>
          <p:cNvSpPr txBox="1">
            <a:spLocks noGrp="1"/>
          </p:cNvSpPr>
          <p:nvPr>
            <p:ph type="sldNum" sz="quarter" idx="4294967295"/>
          </p:nvPr>
        </p:nvSpPr>
        <p:spPr>
          <a:prstGeom prst="rect">
            <a:avLst/>
          </a:prstGeom>
          <a:noFill/>
          <a:ln w="9525">
            <a:noFill/>
            <a:miter lim="800000"/>
            <a:headEnd/>
            <a:tailEnd/>
          </a:ln>
          <a:effectLst/>
          <a:extLst>
            <a:ext uri="{C572A759-6A51-4108-AA02-DFA0A04FC94B}">
              <ma14:wrappingTextBoxFlag xmlns:ma14="http://schemas.microsoft.com/office/mac/drawingml/2011/main" xmlns="" val="1"/>
            </a:ext>
          </a:extLst>
        </p:spPr>
        <p:txBody>
          <a:bodyPr vert="horz" wrap="square" lIns="0" tIns="0" rIns="0" bIns="0" numCol="1" anchor="ctr" anchorCtr="1" compatLnSpc="1">
            <a:prstTxWarp prst="textNoShape">
              <a:avLst/>
            </a:prstTxWarp>
          </a:bodyPr>
          <a:lstStyle/>
          <a:p>
            <a:fld id="{86CB4B4D-7CA3-9044-876B-883B54F8677D}" type="slidenum">
              <a:rPr sz="1200"/>
              <a:pPr/>
              <a:t>7</a:t>
            </a:fld>
            <a:endParaRPr sz="1200"/>
          </a:p>
        </p:txBody>
      </p:sp>
      <p:sp>
        <p:nvSpPr>
          <p:cNvPr id="3665" name="Rectangle 3"/>
          <p:cNvSpPr txBox="1"/>
          <p:nvPr/>
        </p:nvSpPr>
        <p:spPr>
          <a:xfrm>
            <a:off x="325428" y="3986215"/>
            <a:ext cx="8007360" cy="2579456"/>
          </a:xfrm>
          <a:prstGeom prst="rect">
            <a:avLst/>
          </a:prstGeom>
          <a:ln w="12700">
            <a:miter lim="400000"/>
          </a:ln>
          <a:extLst>
            <a:ext uri="{C572A759-6A51-4108-AA02-DFA0A04FC94B}">
              <ma14:wrappingTextBoxFlag xmlns:ma14="http://schemas.microsoft.com/office/mac/drawingml/2011/main" xmlns="" val="1"/>
            </a:ext>
          </a:extLst>
        </p:spPr>
        <p:txBody>
          <a:bodyPr wrap="square" lIns="46625" tIns="46625" rIns="46625" bIns="46625">
            <a:spAutoFit/>
          </a:bodyPr>
          <a:lstStyle/>
          <a:p>
            <a:pPr defTabSz="886226">
              <a:spcBef>
                <a:spcPts val="300"/>
              </a:spcBef>
              <a:tabLst>
                <a:tab pos="444500" algn="l"/>
                <a:tab pos="889000" algn="l"/>
                <a:tab pos="1333500" algn="l"/>
                <a:tab pos="1778000" algn="l"/>
                <a:tab pos="2235200" algn="l"/>
                <a:tab pos="2679700" algn="l"/>
                <a:tab pos="3124200" algn="l"/>
                <a:tab pos="3568700" algn="l"/>
                <a:tab pos="4025900" algn="l"/>
                <a:tab pos="4470400" algn="l"/>
                <a:tab pos="4914900" algn="l"/>
                <a:tab pos="5359400" algn="l"/>
                <a:tab pos="5816600" algn="l"/>
                <a:tab pos="6261100" algn="l"/>
                <a:tab pos="6705600" algn="l"/>
                <a:tab pos="7150100" algn="l"/>
                <a:tab pos="7607300" algn="l"/>
                <a:tab pos="8051800" algn="l"/>
                <a:tab pos="8496300" algn="l"/>
                <a:tab pos="8940800" algn="l"/>
              </a:tabLst>
              <a:defRPr sz="1700">
                <a:solidFill>
                  <a:srgbClr val="020202"/>
                </a:solidFill>
              </a:defRPr>
            </a:pPr>
            <a:r>
              <a:rPr lang="en-US" sz="1600" dirty="0" err="1">
                <a:latin typeface="+mj-lt"/>
                <a:ea typeface="MS PGothic" pitchFamily="34" charset="-128"/>
                <a:cs typeface="Roboto Light"/>
              </a:rPr>
              <a:t>Kozloduy</a:t>
            </a:r>
            <a:r>
              <a:rPr lang="en-US" sz="1600" dirty="0">
                <a:latin typeface="+mj-lt"/>
                <a:ea typeface="MS PGothic" pitchFamily="34" charset="-128"/>
                <a:cs typeface="Roboto Light"/>
              </a:rPr>
              <a:t> NPP, Bulgaria  </a:t>
            </a:r>
          </a:p>
          <a:p>
            <a:pPr defTabSz="886226">
              <a:spcBef>
                <a:spcPts val="300"/>
              </a:spcBef>
              <a:tabLst>
                <a:tab pos="444500" algn="l"/>
                <a:tab pos="889000" algn="l"/>
                <a:tab pos="1333500" algn="l"/>
                <a:tab pos="1778000" algn="l"/>
                <a:tab pos="2235200" algn="l"/>
                <a:tab pos="2679700" algn="l"/>
                <a:tab pos="3124200" algn="l"/>
                <a:tab pos="3568700" algn="l"/>
                <a:tab pos="4025900" algn="l"/>
                <a:tab pos="4470400" algn="l"/>
                <a:tab pos="4914900" algn="l"/>
                <a:tab pos="5359400" algn="l"/>
                <a:tab pos="5816600" algn="l"/>
                <a:tab pos="6261100" algn="l"/>
                <a:tab pos="6705600" algn="l"/>
                <a:tab pos="7150100" algn="l"/>
                <a:tab pos="7607300" algn="l"/>
                <a:tab pos="8051800" algn="l"/>
                <a:tab pos="8496300" algn="l"/>
                <a:tab pos="8940800" algn="l"/>
              </a:tabLst>
              <a:defRPr sz="1700">
                <a:solidFill>
                  <a:srgbClr val="020202"/>
                </a:solidFill>
              </a:defRPr>
            </a:pPr>
            <a:r>
              <a:rPr lang="en-US" sz="1600" b="0" i="1" dirty="0">
                <a:latin typeface="+mj-lt"/>
              </a:rPr>
              <a:t>Service, Life-time extension, Fuel supply </a:t>
            </a:r>
          </a:p>
          <a:p>
            <a:pPr defTabSz="886226">
              <a:spcBef>
                <a:spcPts val="300"/>
              </a:spcBef>
              <a:tabLst>
                <a:tab pos="444500" algn="l"/>
                <a:tab pos="889000" algn="l"/>
                <a:tab pos="1333500" algn="l"/>
                <a:tab pos="1778000" algn="l"/>
                <a:tab pos="2235200" algn="l"/>
                <a:tab pos="2679700" algn="l"/>
                <a:tab pos="3124200" algn="l"/>
                <a:tab pos="3568700" algn="l"/>
                <a:tab pos="4025900" algn="l"/>
                <a:tab pos="4470400" algn="l"/>
                <a:tab pos="4914900" algn="l"/>
                <a:tab pos="5359400" algn="l"/>
                <a:tab pos="5816600" algn="l"/>
                <a:tab pos="6261100" algn="l"/>
                <a:tab pos="6705600" algn="l"/>
                <a:tab pos="7150100" algn="l"/>
                <a:tab pos="7607300" algn="l"/>
                <a:tab pos="8051800" algn="l"/>
                <a:tab pos="8496300" algn="l"/>
                <a:tab pos="8940800" algn="l"/>
              </a:tabLst>
              <a:defRPr sz="1700">
                <a:solidFill>
                  <a:srgbClr val="020202"/>
                </a:solidFill>
              </a:defRPr>
            </a:pPr>
            <a:endParaRPr sz="1600" dirty="0">
              <a:latin typeface="+mj-lt"/>
            </a:endParaRPr>
          </a:p>
          <a:p>
            <a:pPr defTabSz="886226">
              <a:spcBef>
                <a:spcPts val="300"/>
              </a:spcBef>
              <a:tabLst>
                <a:tab pos="444500" algn="l"/>
                <a:tab pos="889000" algn="l"/>
                <a:tab pos="1333500" algn="l"/>
                <a:tab pos="1778000" algn="l"/>
                <a:tab pos="2235200" algn="l"/>
                <a:tab pos="2679700" algn="l"/>
                <a:tab pos="3124200" algn="l"/>
                <a:tab pos="3568700" algn="l"/>
                <a:tab pos="4025900" algn="l"/>
                <a:tab pos="4470400" algn="l"/>
                <a:tab pos="4914900" algn="l"/>
                <a:tab pos="5359400" algn="l"/>
                <a:tab pos="5816600" algn="l"/>
                <a:tab pos="6261100" algn="l"/>
                <a:tab pos="6705600" algn="l"/>
                <a:tab pos="7150100" algn="l"/>
                <a:tab pos="7607300" algn="l"/>
                <a:tab pos="8051800" algn="l"/>
                <a:tab pos="8496300" algn="l"/>
                <a:tab pos="8940800" algn="l"/>
              </a:tabLst>
              <a:defRPr sz="1700" b="0">
                <a:solidFill>
                  <a:srgbClr val="020202"/>
                </a:solidFill>
              </a:defRPr>
            </a:pPr>
            <a:r>
              <a:rPr lang="en-US" sz="1600" dirty="0">
                <a:latin typeface="+mj-lt"/>
              </a:rPr>
              <a:t>Reactor type: VVER-1000</a:t>
            </a:r>
          </a:p>
          <a:p>
            <a:pPr defTabSz="886226">
              <a:spcBef>
                <a:spcPts val="300"/>
              </a:spcBef>
              <a:tabLst>
                <a:tab pos="444500" algn="l"/>
                <a:tab pos="889000" algn="l"/>
                <a:tab pos="1333500" algn="l"/>
                <a:tab pos="1778000" algn="l"/>
                <a:tab pos="2235200" algn="l"/>
                <a:tab pos="2679700" algn="l"/>
                <a:tab pos="3124200" algn="l"/>
                <a:tab pos="3568700" algn="l"/>
                <a:tab pos="4025900" algn="l"/>
                <a:tab pos="4470400" algn="l"/>
                <a:tab pos="4914900" algn="l"/>
                <a:tab pos="5359400" algn="l"/>
                <a:tab pos="5816600" algn="l"/>
                <a:tab pos="6261100" algn="l"/>
                <a:tab pos="6705600" algn="l"/>
                <a:tab pos="7150100" algn="l"/>
                <a:tab pos="7607300" algn="l"/>
                <a:tab pos="8051800" algn="l"/>
                <a:tab pos="8496300" algn="l"/>
                <a:tab pos="8940800" algn="l"/>
              </a:tabLst>
              <a:defRPr sz="1700" b="0">
                <a:solidFill>
                  <a:srgbClr val="020202"/>
                </a:solidFill>
              </a:defRPr>
            </a:pPr>
            <a:r>
              <a:rPr lang="en-US" sz="1600" dirty="0">
                <a:latin typeface="+mj-lt"/>
              </a:rPr>
              <a:t>Capacity: 2 x 1000 MW</a:t>
            </a:r>
          </a:p>
          <a:p>
            <a:pPr marL="285750" indent="-285750" defTabSz="886226">
              <a:spcBef>
                <a:spcPts val="300"/>
              </a:spcBef>
              <a:buFont typeface="Arial" panose="020B0604020202020204" pitchFamily="34" charset="0"/>
              <a:buChar char="•"/>
              <a:tabLst>
                <a:tab pos="444500" algn="l"/>
                <a:tab pos="889000" algn="l"/>
                <a:tab pos="1333500" algn="l"/>
                <a:tab pos="1778000" algn="l"/>
                <a:tab pos="2235200" algn="l"/>
                <a:tab pos="2679700" algn="l"/>
                <a:tab pos="3124200" algn="l"/>
                <a:tab pos="3568700" algn="l"/>
                <a:tab pos="4025900" algn="l"/>
                <a:tab pos="4470400" algn="l"/>
                <a:tab pos="4914900" algn="l"/>
                <a:tab pos="5359400" algn="l"/>
                <a:tab pos="5816600" algn="l"/>
                <a:tab pos="6261100" algn="l"/>
                <a:tab pos="6705600" algn="l"/>
                <a:tab pos="7150100" algn="l"/>
                <a:tab pos="7607300" algn="l"/>
                <a:tab pos="8051800" algn="l"/>
                <a:tab pos="8496300" algn="l"/>
                <a:tab pos="8940800" algn="l"/>
              </a:tabLst>
              <a:defRPr sz="1700" b="0">
                <a:solidFill>
                  <a:srgbClr val="020202"/>
                </a:solidFill>
              </a:defRPr>
            </a:pPr>
            <a:r>
              <a:rPr lang="en-US" sz="1600" dirty="0">
                <a:latin typeface="+mj-lt"/>
              </a:rPr>
              <a:t>Operating reactors - Russian design</a:t>
            </a:r>
          </a:p>
          <a:p>
            <a:pPr marL="285750" indent="-285750" defTabSz="886226">
              <a:spcBef>
                <a:spcPts val="300"/>
              </a:spcBef>
              <a:buFont typeface="Arial" panose="020B0604020202020204" pitchFamily="34" charset="0"/>
              <a:buChar char="•"/>
              <a:tabLst>
                <a:tab pos="444500" algn="l"/>
                <a:tab pos="889000" algn="l"/>
                <a:tab pos="1333500" algn="l"/>
                <a:tab pos="1778000" algn="l"/>
                <a:tab pos="2235200" algn="l"/>
                <a:tab pos="2679700" algn="l"/>
                <a:tab pos="3124200" algn="l"/>
                <a:tab pos="3568700" algn="l"/>
                <a:tab pos="4025900" algn="l"/>
                <a:tab pos="4470400" algn="l"/>
                <a:tab pos="4914900" algn="l"/>
                <a:tab pos="5359400" algn="l"/>
                <a:tab pos="5816600" algn="l"/>
                <a:tab pos="6261100" algn="l"/>
                <a:tab pos="6705600" algn="l"/>
                <a:tab pos="7150100" algn="l"/>
                <a:tab pos="7607300" algn="l"/>
                <a:tab pos="8051800" algn="l"/>
                <a:tab pos="8496300" algn="l"/>
                <a:tab pos="8940800" algn="l"/>
              </a:tabLst>
              <a:defRPr sz="1700" b="0">
                <a:solidFill>
                  <a:srgbClr val="020202"/>
                </a:solidFill>
              </a:defRPr>
            </a:pPr>
            <a:r>
              <a:rPr lang="en-US" altLang="en-US" sz="1600" b="0" dirty="0">
                <a:solidFill>
                  <a:srgbClr val="000000"/>
                </a:solidFill>
                <a:latin typeface="+mj-lt"/>
                <a:ea typeface="MS PGothic" pitchFamily="34" charset="-128"/>
                <a:cs typeface="Arial" charset="0"/>
              </a:rPr>
              <a:t>Supplies of nuclear fuel by TVEL</a:t>
            </a:r>
          </a:p>
          <a:p>
            <a:pPr marL="285750" indent="-285750" eaLnBrk="1" hangingPunct="1">
              <a:buFont typeface="Arial" panose="020B0604020202020204" pitchFamily="34" charset="0"/>
              <a:buChar char="•"/>
              <a:defRPr/>
            </a:pPr>
            <a:r>
              <a:rPr lang="en-US" altLang="en-US" sz="1600" b="0" dirty="0">
                <a:solidFill>
                  <a:srgbClr val="000000"/>
                </a:solidFill>
                <a:latin typeface="+mj-lt"/>
                <a:ea typeface="MS PGothic" pitchFamily="34" charset="-128"/>
                <a:cs typeface="Arial" charset="0"/>
              </a:rPr>
              <a:t>Cooperation in Lifetime Extension project </a:t>
            </a:r>
            <a:r>
              <a:rPr lang="en-US" altLang="en-US" sz="1600" b="0" dirty="0" err="1">
                <a:solidFill>
                  <a:srgbClr val="000000"/>
                </a:solidFill>
                <a:latin typeface="+mj-lt"/>
                <a:ea typeface="MS PGothic" pitchFamily="34" charset="-128"/>
                <a:cs typeface="Arial" charset="0"/>
              </a:rPr>
              <a:t>Rusatom</a:t>
            </a:r>
            <a:r>
              <a:rPr lang="en-US" altLang="en-US" sz="1600" b="0" dirty="0">
                <a:solidFill>
                  <a:srgbClr val="000000"/>
                </a:solidFill>
                <a:latin typeface="+mj-lt"/>
                <a:ea typeface="MS PGothic" pitchFamily="34" charset="-128"/>
                <a:cs typeface="Arial" charset="0"/>
              </a:rPr>
              <a:t> Service</a:t>
            </a:r>
            <a:endParaRPr lang="sk-SK" altLang="en-US" sz="1600" b="0" dirty="0">
              <a:solidFill>
                <a:srgbClr val="000000"/>
              </a:solidFill>
              <a:latin typeface="+mj-lt"/>
              <a:ea typeface="MS PGothic" pitchFamily="34" charset="-128"/>
              <a:cs typeface="Arial" charset="0"/>
            </a:endParaRPr>
          </a:p>
          <a:p>
            <a:pPr defTabSz="886226">
              <a:spcBef>
                <a:spcPts val="300"/>
              </a:spcBef>
              <a:tabLst>
                <a:tab pos="444500" algn="l"/>
                <a:tab pos="889000" algn="l"/>
                <a:tab pos="1333500" algn="l"/>
                <a:tab pos="1778000" algn="l"/>
                <a:tab pos="2235200" algn="l"/>
                <a:tab pos="2679700" algn="l"/>
                <a:tab pos="3124200" algn="l"/>
                <a:tab pos="3568700" algn="l"/>
                <a:tab pos="4025900" algn="l"/>
                <a:tab pos="4470400" algn="l"/>
                <a:tab pos="4914900" algn="l"/>
                <a:tab pos="5359400" algn="l"/>
                <a:tab pos="5816600" algn="l"/>
                <a:tab pos="6261100" algn="l"/>
                <a:tab pos="6705600" algn="l"/>
                <a:tab pos="7150100" algn="l"/>
                <a:tab pos="7607300" algn="l"/>
                <a:tab pos="8051800" algn="l"/>
                <a:tab pos="8496300" algn="l"/>
                <a:tab pos="8940800" algn="l"/>
              </a:tabLst>
              <a:defRPr sz="1700" b="0">
                <a:solidFill>
                  <a:srgbClr val="020202"/>
                </a:solidFill>
              </a:defRPr>
            </a:pPr>
            <a:endParaRPr lang="en-US" sz="1600" dirty="0">
              <a:latin typeface="+mj-lt"/>
            </a:endParaRPr>
          </a:p>
        </p:txBody>
      </p:sp>
      <p:pic>
        <p:nvPicPr>
          <p:cNvPr id="29698" name="69620AB8-7A5A-4B1F-B8D4-0DDE858D89B8" descr="FC98747C-2E82-4F4A-802F-BD797995C202"/>
          <p:cNvPicPr>
            <a:picLocks noChangeAspect="1" noChangeArrowheads="1"/>
          </p:cNvPicPr>
          <p:nvPr/>
        </p:nvPicPr>
        <p:blipFill rotWithShape="1">
          <a:blip r:embed="rId3" cstate="hqprint">
            <a:extLst>
              <a:ext uri="{28A0092B-C50C-407E-A947-70E740481C1C}">
                <a14:useLocalDpi xmlns:a14="http://schemas.microsoft.com/office/drawing/2010/main" val="0"/>
              </a:ext>
            </a:extLst>
          </a:blip>
          <a:srcRect/>
          <a:stretch/>
        </p:blipFill>
        <p:spPr bwMode="auto">
          <a:xfrm>
            <a:off x="9525" y="0"/>
            <a:ext cx="9134475" cy="378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3054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6"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8" t="20550" r="563" b="4354"/>
          <a:stretch/>
        </p:blipFill>
        <p:spPr bwMode="auto">
          <a:xfrm>
            <a:off x="-1" y="1052736"/>
            <a:ext cx="9270523" cy="5328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Заголовок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1"/>
            <a:r>
              <a:rPr lang="en-US" dirty="0">
                <a:solidFill>
                  <a:schemeClr val="tx2"/>
                </a:solidFill>
              </a:rPr>
              <a:t>World’s first floating nuclear power plant</a:t>
            </a:r>
            <a:r>
              <a:rPr lang="ru-RU" dirty="0">
                <a:solidFill>
                  <a:schemeClr val="tx2"/>
                </a:solidFill>
              </a:rPr>
              <a:t> </a:t>
            </a:r>
            <a:r>
              <a:rPr lang="en-US" dirty="0">
                <a:solidFill>
                  <a:schemeClr val="tx2"/>
                </a:solidFill>
              </a:rPr>
              <a:t>FNPP </a:t>
            </a:r>
            <a:r>
              <a:rPr lang="en-US" dirty="0" err="1">
                <a:solidFill>
                  <a:schemeClr val="tx2"/>
                </a:solidFill>
              </a:rPr>
              <a:t>Akademik</a:t>
            </a:r>
            <a:r>
              <a:rPr lang="en-US" dirty="0">
                <a:solidFill>
                  <a:schemeClr val="tx2"/>
                </a:solidFill>
              </a:rPr>
              <a:t> </a:t>
            </a:r>
            <a:r>
              <a:rPr lang="en-US" dirty="0" err="1">
                <a:solidFill>
                  <a:schemeClr val="tx2"/>
                </a:solidFill>
              </a:rPr>
              <a:t>Lomonosov</a:t>
            </a:r>
            <a:endParaRPr lang="ru-RU" dirty="0">
              <a:solidFill>
                <a:schemeClr val="tx2"/>
              </a:solidFill>
            </a:endParaRPr>
          </a:p>
        </p:txBody>
      </p:sp>
      <p:sp>
        <p:nvSpPr>
          <p:cNvPr id="9" name="Прямоугольник 8"/>
          <p:cNvSpPr/>
          <p:nvPr/>
        </p:nvSpPr>
        <p:spPr>
          <a:xfrm>
            <a:off x="467544" y="1556792"/>
            <a:ext cx="5460397" cy="1338828"/>
          </a:xfrm>
          <a:prstGeom prst="rect">
            <a:avLst/>
          </a:prstGeom>
        </p:spPr>
        <p:txBody>
          <a:bodyPr wrap="square">
            <a:spAutoFit/>
          </a:bodyPr>
          <a:lstStyle/>
          <a:p>
            <a:pPr defTabSz="685800" fontAlgn="base">
              <a:spcBef>
                <a:spcPct val="0"/>
              </a:spcBef>
              <a:spcAft>
                <a:spcPct val="0"/>
              </a:spcAft>
            </a:pPr>
            <a:r>
              <a:rPr lang="en-US" sz="3300" kern="0" dirty="0">
                <a:solidFill>
                  <a:schemeClr val="bg1"/>
                </a:solidFill>
                <a:latin typeface="Arial" panose="020B0604020202020204" pitchFamily="34" charset="0"/>
              </a:rPr>
              <a:t>AKADEMIK LOMONOSOV </a:t>
            </a:r>
          </a:p>
          <a:p>
            <a:pPr defTabSz="685800" fontAlgn="base">
              <a:lnSpc>
                <a:spcPct val="80000"/>
              </a:lnSpc>
              <a:spcBef>
                <a:spcPct val="0"/>
              </a:spcBef>
              <a:spcAft>
                <a:spcPct val="0"/>
              </a:spcAft>
            </a:pPr>
            <a:r>
              <a:rPr lang="en-US" sz="6000" b="1" kern="0" dirty="0">
                <a:solidFill>
                  <a:schemeClr val="bg1"/>
                </a:solidFill>
              </a:rPr>
              <a:t>FNPP</a:t>
            </a:r>
            <a:endParaRPr lang="ru-RU" sz="3000" b="1" kern="0" dirty="0">
              <a:solidFill>
                <a:schemeClr val="bg1"/>
              </a:solidFill>
            </a:endParaRPr>
          </a:p>
        </p:txBody>
      </p:sp>
      <p:sp>
        <p:nvSpPr>
          <p:cNvPr id="5" name="Прямоугольник 4"/>
          <p:cNvSpPr/>
          <p:nvPr/>
        </p:nvSpPr>
        <p:spPr>
          <a:xfrm>
            <a:off x="2589271" y="2081332"/>
            <a:ext cx="2779175" cy="646331"/>
          </a:xfrm>
          <a:prstGeom prst="rect">
            <a:avLst/>
          </a:prstGeom>
        </p:spPr>
        <p:txBody>
          <a:bodyPr wrap="square">
            <a:spAutoFit/>
          </a:bodyPr>
          <a:lstStyle/>
          <a:p>
            <a:pPr marL="0" lvl="2">
              <a:spcAft>
                <a:spcPts val="338"/>
              </a:spcAft>
              <a:buClr>
                <a:srgbClr val="002960"/>
              </a:buClr>
            </a:pPr>
            <a:r>
              <a:rPr lang="en-US" dirty="0">
                <a:solidFill>
                  <a:schemeClr val="bg1"/>
                </a:solidFill>
              </a:rPr>
              <a:t>THE FIRST-OF-A-KIND PROJECT </a:t>
            </a:r>
            <a:endParaRPr lang="ru-RU" dirty="0">
              <a:solidFill>
                <a:schemeClr val="bg1"/>
              </a:solidFill>
            </a:endParaRPr>
          </a:p>
        </p:txBody>
      </p:sp>
      <p:grpSp>
        <p:nvGrpSpPr>
          <p:cNvPr id="10" name="Группа 9"/>
          <p:cNvGrpSpPr/>
          <p:nvPr/>
        </p:nvGrpSpPr>
        <p:grpSpPr>
          <a:xfrm>
            <a:off x="464433" y="301509"/>
            <a:ext cx="701703" cy="359012"/>
            <a:chOff x="852488" y="1852613"/>
            <a:chExt cx="1501775" cy="768350"/>
          </a:xfrm>
          <a:solidFill>
            <a:schemeClr val="tx2"/>
          </a:solidFill>
        </p:grpSpPr>
        <p:sp>
          <p:nvSpPr>
            <p:cNvPr id="11" name="Freeform 113"/>
            <p:cNvSpPr>
              <a:spLocks noEditPoints="1"/>
            </p:cNvSpPr>
            <p:nvPr/>
          </p:nvSpPr>
          <p:spPr bwMode="auto">
            <a:xfrm>
              <a:off x="865188" y="1862138"/>
              <a:ext cx="1235075" cy="425450"/>
            </a:xfrm>
            <a:custGeom>
              <a:avLst/>
              <a:gdLst>
                <a:gd name="T0" fmla="*/ 746 w 778"/>
                <a:gd name="T1" fmla="*/ 252 h 268"/>
                <a:gd name="T2" fmla="*/ 778 w 778"/>
                <a:gd name="T3" fmla="*/ 210 h 268"/>
                <a:gd name="T4" fmla="*/ 716 w 778"/>
                <a:gd name="T5" fmla="*/ 182 h 268"/>
                <a:gd name="T6" fmla="*/ 514 w 778"/>
                <a:gd name="T7" fmla="*/ 150 h 268"/>
                <a:gd name="T8" fmla="*/ 500 w 778"/>
                <a:gd name="T9" fmla="*/ 0 h 268"/>
                <a:gd name="T10" fmla="*/ 468 w 778"/>
                <a:gd name="T11" fmla="*/ 14 h 268"/>
                <a:gd name="T12" fmla="*/ 432 w 778"/>
                <a:gd name="T13" fmla="*/ 12 h 268"/>
                <a:gd name="T14" fmla="*/ 424 w 778"/>
                <a:gd name="T15" fmla="*/ 88 h 268"/>
                <a:gd name="T16" fmla="*/ 248 w 778"/>
                <a:gd name="T17" fmla="*/ 64 h 268"/>
                <a:gd name="T18" fmla="*/ 182 w 778"/>
                <a:gd name="T19" fmla="*/ 88 h 268"/>
                <a:gd name="T20" fmla="*/ 420 w 778"/>
                <a:gd name="T21" fmla="*/ 124 h 268"/>
                <a:gd name="T22" fmla="*/ 418 w 778"/>
                <a:gd name="T23" fmla="*/ 134 h 268"/>
                <a:gd name="T24" fmla="*/ 258 w 778"/>
                <a:gd name="T25" fmla="*/ 108 h 268"/>
                <a:gd name="T26" fmla="*/ 168 w 778"/>
                <a:gd name="T27" fmla="*/ 94 h 268"/>
                <a:gd name="T28" fmla="*/ 144 w 778"/>
                <a:gd name="T29" fmla="*/ 90 h 268"/>
                <a:gd name="T30" fmla="*/ 0 w 778"/>
                <a:gd name="T31" fmla="*/ 150 h 268"/>
                <a:gd name="T32" fmla="*/ 650 w 778"/>
                <a:gd name="T33" fmla="*/ 268 h 268"/>
                <a:gd name="T34" fmla="*/ 746 w 778"/>
                <a:gd name="T35" fmla="*/ 252 h 268"/>
                <a:gd name="T36" fmla="*/ 462 w 778"/>
                <a:gd name="T37" fmla="*/ 140 h 268"/>
                <a:gd name="T38" fmla="*/ 462 w 778"/>
                <a:gd name="T39" fmla="*/ 194 h 268"/>
                <a:gd name="T40" fmla="*/ 180 w 778"/>
                <a:gd name="T41" fmla="*/ 144 h 268"/>
                <a:gd name="T42" fmla="*/ 180 w 778"/>
                <a:gd name="T43" fmla="*/ 108 h 268"/>
                <a:gd name="T44" fmla="*/ 418 w 778"/>
                <a:gd name="T45" fmla="*/ 146 h 268"/>
                <a:gd name="T46" fmla="*/ 430 w 778"/>
                <a:gd name="T47" fmla="*/ 146 h 268"/>
                <a:gd name="T48" fmla="*/ 430 w 778"/>
                <a:gd name="T49" fmla="*/ 136 h 268"/>
                <a:gd name="T50" fmla="*/ 430 w 778"/>
                <a:gd name="T51" fmla="*/ 134 h 268"/>
                <a:gd name="T52" fmla="*/ 432 w 778"/>
                <a:gd name="T53" fmla="*/ 126 h 268"/>
                <a:gd name="T54" fmla="*/ 436 w 778"/>
                <a:gd name="T55" fmla="*/ 90 h 268"/>
                <a:gd name="T56" fmla="*/ 442 w 778"/>
                <a:gd name="T57" fmla="*/ 24 h 268"/>
                <a:gd name="T58" fmla="*/ 462 w 778"/>
                <a:gd name="T59" fmla="*/ 26 h 268"/>
                <a:gd name="T60" fmla="*/ 462 w 778"/>
                <a:gd name="T61" fmla="*/ 140 h 268"/>
                <a:gd name="T62" fmla="*/ 474 w 778"/>
                <a:gd name="T63" fmla="*/ 186 h 268"/>
                <a:gd name="T64" fmla="*/ 474 w 778"/>
                <a:gd name="T65" fmla="*/ 142 h 268"/>
                <a:gd name="T66" fmla="*/ 474 w 778"/>
                <a:gd name="T67" fmla="*/ 26 h 268"/>
                <a:gd name="T68" fmla="*/ 490 w 778"/>
                <a:gd name="T69" fmla="*/ 18 h 268"/>
                <a:gd name="T70" fmla="*/ 502 w 778"/>
                <a:gd name="T71" fmla="*/ 148 h 268"/>
                <a:gd name="T72" fmla="*/ 504 w 778"/>
                <a:gd name="T73" fmla="*/ 162 h 268"/>
                <a:gd name="T74" fmla="*/ 474 w 778"/>
                <a:gd name="T75" fmla="*/ 186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8" h="268">
                  <a:moveTo>
                    <a:pt x="746" y="252"/>
                  </a:moveTo>
                  <a:lnTo>
                    <a:pt x="778" y="210"/>
                  </a:lnTo>
                  <a:lnTo>
                    <a:pt x="716" y="182"/>
                  </a:lnTo>
                  <a:lnTo>
                    <a:pt x="514" y="150"/>
                  </a:lnTo>
                  <a:lnTo>
                    <a:pt x="500" y="0"/>
                  </a:lnTo>
                  <a:lnTo>
                    <a:pt x="468" y="14"/>
                  </a:lnTo>
                  <a:lnTo>
                    <a:pt x="432" y="12"/>
                  </a:lnTo>
                  <a:lnTo>
                    <a:pt x="424" y="88"/>
                  </a:lnTo>
                  <a:lnTo>
                    <a:pt x="248" y="64"/>
                  </a:lnTo>
                  <a:lnTo>
                    <a:pt x="182" y="88"/>
                  </a:lnTo>
                  <a:lnTo>
                    <a:pt x="420" y="124"/>
                  </a:lnTo>
                  <a:lnTo>
                    <a:pt x="418" y="134"/>
                  </a:lnTo>
                  <a:lnTo>
                    <a:pt x="258" y="108"/>
                  </a:lnTo>
                  <a:lnTo>
                    <a:pt x="168" y="94"/>
                  </a:lnTo>
                  <a:lnTo>
                    <a:pt x="144" y="90"/>
                  </a:lnTo>
                  <a:lnTo>
                    <a:pt x="0" y="150"/>
                  </a:lnTo>
                  <a:lnTo>
                    <a:pt x="650" y="268"/>
                  </a:lnTo>
                  <a:lnTo>
                    <a:pt x="746" y="252"/>
                  </a:lnTo>
                  <a:close/>
                  <a:moveTo>
                    <a:pt x="462" y="140"/>
                  </a:moveTo>
                  <a:lnTo>
                    <a:pt x="462" y="194"/>
                  </a:lnTo>
                  <a:lnTo>
                    <a:pt x="180" y="144"/>
                  </a:lnTo>
                  <a:lnTo>
                    <a:pt x="180" y="108"/>
                  </a:lnTo>
                  <a:lnTo>
                    <a:pt x="418" y="146"/>
                  </a:lnTo>
                  <a:lnTo>
                    <a:pt x="430" y="146"/>
                  </a:lnTo>
                  <a:lnTo>
                    <a:pt x="430" y="136"/>
                  </a:lnTo>
                  <a:lnTo>
                    <a:pt x="430" y="134"/>
                  </a:lnTo>
                  <a:lnTo>
                    <a:pt x="432" y="126"/>
                  </a:lnTo>
                  <a:lnTo>
                    <a:pt x="436" y="90"/>
                  </a:lnTo>
                  <a:lnTo>
                    <a:pt x="442" y="24"/>
                  </a:lnTo>
                  <a:lnTo>
                    <a:pt x="462" y="26"/>
                  </a:lnTo>
                  <a:lnTo>
                    <a:pt x="462" y="140"/>
                  </a:lnTo>
                  <a:close/>
                  <a:moveTo>
                    <a:pt x="474" y="186"/>
                  </a:moveTo>
                  <a:lnTo>
                    <a:pt x="474" y="142"/>
                  </a:lnTo>
                  <a:lnTo>
                    <a:pt x="474" y="26"/>
                  </a:lnTo>
                  <a:lnTo>
                    <a:pt x="490" y="18"/>
                  </a:lnTo>
                  <a:lnTo>
                    <a:pt x="502" y="148"/>
                  </a:lnTo>
                  <a:lnTo>
                    <a:pt x="504" y="162"/>
                  </a:lnTo>
                  <a:lnTo>
                    <a:pt x="474" y="1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ru-RU" sz="1013"/>
            </a:p>
          </p:txBody>
        </p:sp>
        <p:sp>
          <p:nvSpPr>
            <p:cNvPr id="13" name="Freeform 114"/>
            <p:cNvSpPr>
              <a:spLocks noEditPoints="1"/>
            </p:cNvSpPr>
            <p:nvPr/>
          </p:nvSpPr>
          <p:spPr bwMode="auto">
            <a:xfrm>
              <a:off x="1906588" y="2281238"/>
              <a:ext cx="136525" cy="196850"/>
            </a:xfrm>
            <a:custGeom>
              <a:avLst/>
              <a:gdLst>
                <a:gd name="T0" fmla="*/ 0 w 86"/>
                <a:gd name="T1" fmla="*/ 14 h 124"/>
                <a:gd name="T2" fmla="*/ 0 w 86"/>
                <a:gd name="T3" fmla="*/ 124 h 124"/>
                <a:gd name="T4" fmla="*/ 86 w 86"/>
                <a:gd name="T5" fmla="*/ 104 h 124"/>
                <a:gd name="T6" fmla="*/ 86 w 86"/>
                <a:gd name="T7" fmla="*/ 0 h 124"/>
                <a:gd name="T8" fmla="*/ 0 w 86"/>
                <a:gd name="T9" fmla="*/ 14 h 124"/>
                <a:gd name="T10" fmla="*/ 74 w 86"/>
                <a:gd name="T11" fmla="*/ 96 h 124"/>
                <a:gd name="T12" fmla="*/ 12 w 86"/>
                <a:gd name="T13" fmla="*/ 110 h 124"/>
                <a:gd name="T14" fmla="*/ 12 w 86"/>
                <a:gd name="T15" fmla="*/ 24 h 124"/>
                <a:gd name="T16" fmla="*/ 74 w 86"/>
                <a:gd name="T17" fmla="*/ 14 h 124"/>
                <a:gd name="T18" fmla="*/ 74 w 86"/>
                <a:gd name="T19" fmla="*/ 9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124">
                  <a:moveTo>
                    <a:pt x="0" y="14"/>
                  </a:moveTo>
                  <a:lnTo>
                    <a:pt x="0" y="124"/>
                  </a:lnTo>
                  <a:lnTo>
                    <a:pt x="86" y="104"/>
                  </a:lnTo>
                  <a:lnTo>
                    <a:pt x="86" y="0"/>
                  </a:lnTo>
                  <a:lnTo>
                    <a:pt x="0" y="14"/>
                  </a:lnTo>
                  <a:close/>
                  <a:moveTo>
                    <a:pt x="74" y="96"/>
                  </a:moveTo>
                  <a:lnTo>
                    <a:pt x="12" y="110"/>
                  </a:lnTo>
                  <a:lnTo>
                    <a:pt x="12" y="24"/>
                  </a:lnTo>
                  <a:lnTo>
                    <a:pt x="74" y="14"/>
                  </a:lnTo>
                  <a:lnTo>
                    <a:pt x="74" y="9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ru-RU" sz="1013"/>
            </a:p>
          </p:txBody>
        </p:sp>
        <p:sp>
          <p:nvSpPr>
            <p:cNvPr id="14" name="Freeform 115"/>
            <p:cNvSpPr>
              <a:spLocks noEditPoints="1"/>
            </p:cNvSpPr>
            <p:nvPr/>
          </p:nvSpPr>
          <p:spPr bwMode="auto">
            <a:xfrm>
              <a:off x="2052638" y="2211388"/>
              <a:ext cx="50800" cy="234950"/>
            </a:xfrm>
            <a:custGeom>
              <a:avLst/>
              <a:gdLst>
                <a:gd name="T0" fmla="*/ 0 w 32"/>
                <a:gd name="T1" fmla="*/ 148 h 148"/>
                <a:gd name="T2" fmla="*/ 32 w 32"/>
                <a:gd name="T3" fmla="*/ 106 h 148"/>
                <a:gd name="T4" fmla="*/ 32 w 32"/>
                <a:gd name="T5" fmla="*/ 0 h 148"/>
                <a:gd name="T6" fmla="*/ 0 w 32"/>
                <a:gd name="T7" fmla="*/ 44 h 148"/>
                <a:gd name="T8" fmla="*/ 0 w 32"/>
                <a:gd name="T9" fmla="*/ 148 h 148"/>
                <a:gd name="T10" fmla="*/ 12 w 32"/>
                <a:gd name="T11" fmla="*/ 48 h 148"/>
                <a:gd name="T12" fmla="*/ 20 w 32"/>
                <a:gd name="T13" fmla="*/ 36 h 148"/>
                <a:gd name="T14" fmla="*/ 20 w 32"/>
                <a:gd name="T15" fmla="*/ 102 h 148"/>
                <a:gd name="T16" fmla="*/ 12 w 32"/>
                <a:gd name="T17" fmla="*/ 114 h 148"/>
                <a:gd name="T18" fmla="*/ 12 w 32"/>
                <a:gd name="T19" fmla="*/ 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48">
                  <a:moveTo>
                    <a:pt x="0" y="148"/>
                  </a:moveTo>
                  <a:lnTo>
                    <a:pt x="32" y="106"/>
                  </a:lnTo>
                  <a:lnTo>
                    <a:pt x="32" y="0"/>
                  </a:lnTo>
                  <a:lnTo>
                    <a:pt x="0" y="44"/>
                  </a:lnTo>
                  <a:lnTo>
                    <a:pt x="0" y="148"/>
                  </a:lnTo>
                  <a:close/>
                  <a:moveTo>
                    <a:pt x="12" y="48"/>
                  </a:moveTo>
                  <a:lnTo>
                    <a:pt x="20" y="36"/>
                  </a:lnTo>
                  <a:lnTo>
                    <a:pt x="20" y="102"/>
                  </a:lnTo>
                  <a:lnTo>
                    <a:pt x="12" y="114"/>
                  </a:lnTo>
                  <a:lnTo>
                    <a:pt x="12" y="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ru-RU" sz="1013"/>
            </a:p>
          </p:txBody>
        </p:sp>
        <p:sp>
          <p:nvSpPr>
            <p:cNvPr id="15" name="Freeform 116"/>
            <p:cNvSpPr>
              <a:spLocks noEditPoints="1"/>
            </p:cNvSpPr>
            <p:nvPr/>
          </p:nvSpPr>
          <p:spPr bwMode="auto">
            <a:xfrm>
              <a:off x="852488" y="2109788"/>
              <a:ext cx="1044575" cy="365125"/>
            </a:xfrm>
            <a:custGeom>
              <a:avLst/>
              <a:gdLst>
                <a:gd name="T0" fmla="*/ 658 w 658"/>
                <a:gd name="T1" fmla="*/ 120 h 230"/>
                <a:gd name="T2" fmla="*/ 0 w 658"/>
                <a:gd name="T3" fmla="*/ 0 h 230"/>
                <a:gd name="T4" fmla="*/ 0 w 658"/>
                <a:gd name="T5" fmla="*/ 110 h 230"/>
                <a:gd name="T6" fmla="*/ 658 w 658"/>
                <a:gd name="T7" fmla="*/ 230 h 230"/>
                <a:gd name="T8" fmla="*/ 658 w 658"/>
                <a:gd name="T9" fmla="*/ 120 h 230"/>
                <a:gd name="T10" fmla="*/ 646 w 658"/>
                <a:gd name="T11" fmla="*/ 216 h 230"/>
                <a:gd name="T12" fmla="*/ 12 w 658"/>
                <a:gd name="T13" fmla="*/ 100 h 230"/>
                <a:gd name="T14" fmla="*/ 12 w 658"/>
                <a:gd name="T15" fmla="*/ 14 h 230"/>
                <a:gd name="T16" fmla="*/ 646 w 658"/>
                <a:gd name="T17" fmla="*/ 130 h 230"/>
                <a:gd name="T18" fmla="*/ 646 w 658"/>
                <a:gd name="T19" fmla="*/ 21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8" h="230">
                  <a:moveTo>
                    <a:pt x="658" y="120"/>
                  </a:moveTo>
                  <a:lnTo>
                    <a:pt x="0" y="0"/>
                  </a:lnTo>
                  <a:lnTo>
                    <a:pt x="0" y="110"/>
                  </a:lnTo>
                  <a:lnTo>
                    <a:pt x="658" y="230"/>
                  </a:lnTo>
                  <a:lnTo>
                    <a:pt x="658" y="120"/>
                  </a:lnTo>
                  <a:close/>
                  <a:moveTo>
                    <a:pt x="646" y="216"/>
                  </a:moveTo>
                  <a:lnTo>
                    <a:pt x="12" y="100"/>
                  </a:lnTo>
                  <a:lnTo>
                    <a:pt x="12" y="14"/>
                  </a:lnTo>
                  <a:lnTo>
                    <a:pt x="646" y="130"/>
                  </a:lnTo>
                  <a:lnTo>
                    <a:pt x="646" y="2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ru-RU" sz="1013"/>
            </a:p>
          </p:txBody>
        </p:sp>
        <p:sp>
          <p:nvSpPr>
            <p:cNvPr id="16" name="Freeform 117"/>
            <p:cNvSpPr>
              <a:spLocks noEditPoints="1"/>
            </p:cNvSpPr>
            <p:nvPr/>
          </p:nvSpPr>
          <p:spPr bwMode="auto">
            <a:xfrm>
              <a:off x="852488" y="2306638"/>
              <a:ext cx="1501775" cy="314325"/>
            </a:xfrm>
            <a:custGeom>
              <a:avLst/>
              <a:gdLst>
                <a:gd name="T0" fmla="*/ 764 w 946"/>
                <a:gd name="T1" fmla="*/ 126 h 198"/>
                <a:gd name="T2" fmla="*/ 662 w 946"/>
                <a:gd name="T3" fmla="*/ 118 h 198"/>
                <a:gd name="T4" fmla="*/ 0 w 946"/>
                <a:gd name="T5" fmla="*/ 46 h 198"/>
                <a:gd name="T6" fmla="*/ 0 w 946"/>
                <a:gd name="T7" fmla="*/ 56 h 198"/>
                <a:gd name="T8" fmla="*/ 4 w 946"/>
                <a:gd name="T9" fmla="*/ 66 h 198"/>
                <a:gd name="T10" fmla="*/ 20 w 946"/>
                <a:gd name="T11" fmla="*/ 78 h 198"/>
                <a:gd name="T12" fmla="*/ 66 w 946"/>
                <a:gd name="T13" fmla="*/ 92 h 198"/>
                <a:gd name="T14" fmla="*/ 326 w 946"/>
                <a:gd name="T15" fmla="*/ 142 h 198"/>
                <a:gd name="T16" fmla="*/ 572 w 946"/>
                <a:gd name="T17" fmla="*/ 186 h 198"/>
                <a:gd name="T18" fmla="*/ 602 w 946"/>
                <a:gd name="T19" fmla="*/ 192 h 198"/>
                <a:gd name="T20" fmla="*/ 696 w 946"/>
                <a:gd name="T21" fmla="*/ 198 h 198"/>
                <a:gd name="T22" fmla="*/ 730 w 946"/>
                <a:gd name="T23" fmla="*/ 196 h 198"/>
                <a:gd name="T24" fmla="*/ 792 w 946"/>
                <a:gd name="T25" fmla="*/ 188 h 198"/>
                <a:gd name="T26" fmla="*/ 842 w 946"/>
                <a:gd name="T27" fmla="*/ 174 h 198"/>
                <a:gd name="T28" fmla="*/ 880 w 946"/>
                <a:gd name="T29" fmla="*/ 158 h 198"/>
                <a:gd name="T30" fmla="*/ 908 w 946"/>
                <a:gd name="T31" fmla="*/ 138 h 198"/>
                <a:gd name="T32" fmla="*/ 936 w 946"/>
                <a:gd name="T33" fmla="*/ 114 h 198"/>
                <a:gd name="T34" fmla="*/ 946 w 946"/>
                <a:gd name="T35" fmla="*/ 98 h 198"/>
                <a:gd name="T36" fmla="*/ 934 w 946"/>
                <a:gd name="T37" fmla="*/ 104 h 198"/>
                <a:gd name="T38" fmla="*/ 874 w 946"/>
                <a:gd name="T39" fmla="*/ 118 h 198"/>
                <a:gd name="T40" fmla="*/ 764 w 946"/>
                <a:gd name="T41" fmla="*/ 126 h 198"/>
                <a:gd name="T42" fmla="*/ 696 w 946"/>
                <a:gd name="T43" fmla="*/ 186 h 198"/>
                <a:gd name="T44" fmla="*/ 650 w 946"/>
                <a:gd name="T45" fmla="*/ 184 h 198"/>
                <a:gd name="T46" fmla="*/ 602 w 946"/>
                <a:gd name="T47" fmla="*/ 180 h 198"/>
                <a:gd name="T48" fmla="*/ 602 w 946"/>
                <a:gd name="T49" fmla="*/ 180 h 198"/>
                <a:gd name="T50" fmla="*/ 406 w 946"/>
                <a:gd name="T51" fmla="*/ 144 h 198"/>
                <a:gd name="T52" fmla="*/ 68 w 946"/>
                <a:gd name="T53" fmla="*/ 80 h 198"/>
                <a:gd name="T54" fmla="*/ 24 w 946"/>
                <a:gd name="T55" fmla="*/ 68 h 198"/>
                <a:gd name="T56" fmla="*/ 14 w 946"/>
                <a:gd name="T57" fmla="*/ 60 h 198"/>
                <a:gd name="T58" fmla="*/ 12 w 946"/>
                <a:gd name="T59" fmla="*/ 54 h 198"/>
                <a:gd name="T60" fmla="*/ 12 w 946"/>
                <a:gd name="T61" fmla="*/ 14 h 198"/>
                <a:gd name="T62" fmla="*/ 660 w 946"/>
                <a:gd name="T63" fmla="*/ 130 h 198"/>
                <a:gd name="T64" fmla="*/ 764 w 946"/>
                <a:gd name="T65" fmla="*/ 138 h 198"/>
                <a:gd name="T66" fmla="*/ 804 w 946"/>
                <a:gd name="T67" fmla="*/ 136 h 198"/>
                <a:gd name="T68" fmla="*/ 878 w 946"/>
                <a:gd name="T69" fmla="*/ 130 h 198"/>
                <a:gd name="T70" fmla="*/ 910 w 946"/>
                <a:gd name="T71" fmla="*/ 124 h 198"/>
                <a:gd name="T72" fmla="*/ 880 w 946"/>
                <a:gd name="T73" fmla="*/ 144 h 198"/>
                <a:gd name="T74" fmla="*/ 834 w 946"/>
                <a:gd name="T75" fmla="*/ 164 h 198"/>
                <a:gd name="T76" fmla="*/ 774 w 946"/>
                <a:gd name="T77" fmla="*/ 180 h 198"/>
                <a:gd name="T78" fmla="*/ 696 w 946"/>
                <a:gd name="T79" fmla="*/ 18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46" h="198">
                  <a:moveTo>
                    <a:pt x="764" y="126"/>
                  </a:moveTo>
                  <a:lnTo>
                    <a:pt x="764" y="126"/>
                  </a:lnTo>
                  <a:lnTo>
                    <a:pt x="712" y="124"/>
                  </a:lnTo>
                  <a:lnTo>
                    <a:pt x="662" y="118"/>
                  </a:lnTo>
                  <a:lnTo>
                    <a:pt x="0" y="0"/>
                  </a:lnTo>
                  <a:lnTo>
                    <a:pt x="0" y="46"/>
                  </a:lnTo>
                  <a:lnTo>
                    <a:pt x="0" y="46"/>
                  </a:lnTo>
                  <a:lnTo>
                    <a:pt x="0" y="56"/>
                  </a:lnTo>
                  <a:lnTo>
                    <a:pt x="4" y="66"/>
                  </a:lnTo>
                  <a:lnTo>
                    <a:pt x="4" y="66"/>
                  </a:lnTo>
                  <a:lnTo>
                    <a:pt x="10" y="72"/>
                  </a:lnTo>
                  <a:lnTo>
                    <a:pt x="20" y="78"/>
                  </a:lnTo>
                  <a:lnTo>
                    <a:pt x="38" y="84"/>
                  </a:lnTo>
                  <a:lnTo>
                    <a:pt x="66" y="92"/>
                  </a:lnTo>
                  <a:lnTo>
                    <a:pt x="66" y="92"/>
                  </a:lnTo>
                  <a:lnTo>
                    <a:pt x="326" y="142"/>
                  </a:lnTo>
                  <a:lnTo>
                    <a:pt x="508" y="176"/>
                  </a:lnTo>
                  <a:lnTo>
                    <a:pt x="572" y="186"/>
                  </a:lnTo>
                  <a:lnTo>
                    <a:pt x="602" y="192"/>
                  </a:lnTo>
                  <a:lnTo>
                    <a:pt x="602" y="192"/>
                  </a:lnTo>
                  <a:lnTo>
                    <a:pt x="650" y="196"/>
                  </a:lnTo>
                  <a:lnTo>
                    <a:pt x="696" y="198"/>
                  </a:lnTo>
                  <a:lnTo>
                    <a:pt x="696" y="198"/>
                  </a:lnTo>
                  <a:lnTo>
                    <a:pt x="730" y="196"/>
                  </a:lnTo>
                  <a:lnTo>
                    <a:pt x="764" y="194"/>
                  </a:lnTo>
                  <a:lnTo>
                    <a:pt x="792" y="188"/>
                  </a:lnTo>
                  <a:lnTo>
                    <a:pt x="818" y="182"/>
                  </a:lnTo>
                  <a:lnTo>
                    <a:pt x="842" y="174"/>
                  </a:lnTo>
                  <a:lnTo>
                    <a:pt x="862" y="166"/>
                  </a:lnTo>
                  <a:lnTo>
                    <a:pt x="880" y="158"/>
                  </a:lnTo>
                  <a:lnTo>
                    <a:pt x="896" y="148"/>
                  </a:lnTo>
                  <a:lnTo>
                    <a:pt x="908" y="138"/>
                  </a:lnTo>
                  <a:lnTo>
                    <a:pt x="920" y="130"/>
                  </a:lnTo>
                  <a:lnTo>
                    <a:pt x="936" y="114"/>
                  </a:lnTo>
                  <a:lnTo>
                    <a:pt x="944" y="102"/>
                  </a:lnTo>
                  <a:lnTo>
                    <a:pt x="946" y="98"/>
                  </a:lnTo>
                  <a:lnTo>
                    <a:pt x="946" y="98"/>
                  </a:lnTo>
                  <a:lnTo>
                    <a:pt x="934" y="104"/>
                  </a:lnTo>
                  <a:lnTo>
                    <a:pt x="918" y="110"/>
                  </a:lnTo>
                  <a:lnTo>
                    <a:pt x="874" y="118"/>
                  </a:lnTo>
                  <a:lnTo>
                    <a:pt x="822" y="124"/>
                  </a:lnTo>
                  <a:lnTo>
                    <a:pt x="764" y="126"/>
                  </a:lnTo>
                  <a:lnTo>
                    <a:pt x="764" y="126"/>
                  </a:lnTo>
                  <a:close/>
                  <a:moveTo>
                    <a:pt x="696" y="186"/>
                  </a:moveTo>
                  <a:lnTo>
                    <a:pt x="696" y="186"/>
                  </a:lnTo>
                  <a:lnTo>
                    <a:pt x="650" y="184"/>
                  </a:lnTo>
                  <a:lnTo>
                    <a:pt x="602" y="180"/>
                  </a:lnTo>
                  <a:lnTo>
                    <a:pt x="602" y="180"/>
                  </a:lnTo>
                  <a:lnTo>
                    <a:pt x="602" y="180"/>
                  </a:lnTo>
                  <a:lnTo>
                    <a:pt x="602" y="180"/>
                  </a:lnTo>
                  <a:lnTo>
                    <a:pt x="540" y="170"/>
                  </a:lnTo>
                  <a:lnTo>
                    <a:pt x="406" y="144"/>
                  </a:lnTo>
                  <a:lnTo>
                    <a:pt x="68" y="80"/>
                  </a:lnTo>
                  <a:lnTo>
                    <a:pt x="68" y="80"/>
                  </a:lnTo>
                  <a:lnTo>
                    <a:pt x="40" y="74"/>
                  </a:lnTo>
                  <a:lnTo>
                    <a:pt x="24" y="68"/>
                  </a:lnTo>
                  <a:lnTo>
                    <a:pt x="18" y="64"/>
                  </a:lnTo>
                  <a:lnTo>
                    <a:pt x="14" y="60"/>
                  </a:lnTo>
                  <a:lnTo>
                    <a:pt x="14" y="60"/>
                  </a:lnTo>
                  <a:lnTo>
                    <a:pt x="12" y="54"/>
                  </a:lnTo>
                  <a:lnTo>
                    <a:pt x="12" y="46"/>
                  </a:lnTo>
                  <a:lnTo>
                    <a:pt x="12" y="14"/>
                  </a:lnTo>
                  <a:lnTo>
                    <a:pt x="660" y="130"/>
                  </a:lnTo>
                  <a:lnTo>
                    <a:pt x="660" y="130"/>
                  </a:lnTo>
                  <a:lnTo>
                    <a:pt x="710" y="136"/>
                  </a:lnTo>
                  <a:lnTo>
                    <a:pt x="764" y="138"/>
                  </a:lnTo>
                  <a:lnTo>
                    <a:pt x="764" y="138"/>
                  </a:lnTo>
                  <a:lnTo>
                    <a:pt x="804" y="136"/>
                  </a:lnTo>
                  <a:lnTo>
                    <a:pt x="842" y="134"/>
                  </a:lnTo>
                  <a:lnTo>
                    <a:pt x="878" y="130"/>
                  </a:lnTo>
                  <a:lnTo>
                    <a:pt x="910" y="124"/>
                  </a:lnTo>
                  <a:lnTo>
                    <a:pt x="910" y="124"/>
                  </a:lnTo>
                  <a:lnTo>
                    <a:pt x="896" y="134"/>
                  </a:lnTo>
                  <a:lnTo>
                    <a:pt x="880" y="144"/>
                  </a:lnTo>
                  <a:lnTo>
                    <a:pt x="858" y="154"/>
                  </a:lnTo>
                  <a:lnTo>
                    <a:pt x="834" y="164"/>
                  </a:lnTo>
                  <a:lnTo>
                    <a:pt x="806" y="174"/>
                  </a:lnTo>
                  <a:lnTo>
                    <a:pt x="774" y="180"/>
                  </a:lnTo>
                  <a:lnTo>
                    <a:pt x="738" y="184"/>
                  </a:lnTo>
                  <a:lnTo>
                    <a:pt x="696" y="186"/>
                  </a:lnTo>
                  <a:lnTo>
                    <a:pt x="696" y="18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ru-RU" sz="1013"/>
            </a:p>
          </p:txBody>
        </p:sp>
        <p:sp>
          <p:nvSpPr>
            <p:cNvPr id="17" name="Freeform 118"/>
            <p:cNvSpPr>
              <a:spLocks/>
            </p:cNvSpPr>
            <p:nvPr/>
          </p:nvSpPr>
          <p:spPr bwMode="auto">
            <a:xfrm>
              <a:off x="1941513" y="2351088"/>
              <a:ext cx="409575" cy="139700"/>
            </a:xfrm>
            <a:custGeom>
              <a:avLst/>
              <a:gdLst>
                <a:gd name="T0" fmla="*/ 76 w 258"/>
                <a:gd name="T1" fmla="*/ 68 h 88"/>
                <a:gd name="T2" fmla="*/ 0 w 258"/>
                <a:gd name="T3" fmla="*/ 84 h 88"/>
                <a:gd name="T4" fmla="*/ 0 w 258"/>
                <a:gd name="T5" fmla="*/ 84 h 88"/>
                <a:gd name="T6" fmla="*/ 58 w 258"/>
                <a:gd name="T7" fmla="*/ 88 h 88"/>
                <a:gd name="T8" fmla="*/ 110 w 258"/>
                <a:gd name="T9" fmla="*/ 88 h 88"/>
                <a:gd name="T10" fmla="*/ 154 w 258"/>
                <a:gd name="T11" fmla="*/ 86 h 88"/>
                <a:gd name="T12" fmla="*/ 190 w 258"/>
                <a:gd name="T13" fmla="*/ 80 h 88"/>
                <a:gd name="T14" fmla="*/ 220 w 258"/>
                <a:gd name="T15" fmla="*/ 76 h 88"/>
                <a:gd name="T16" fmla="*/ 240 w 258"/>
                <a:gd name="T17" fmla="*/ 70 h 88"/>
                <a:gd name="T18" fmla="*/ 258 w 258"/>
                <a:gd name="T19" fmla="*/ 66 h 88"/>
                <a:gd name="T20" fmla="*/ 258 w 258"/>
                <a:gd name="T21" fmla="*/ 66 h 88"/>
                <a:gd name="T22" fmla="*/ 252 w 258"/>
                <a:gd name="T23" fmla="*/ 60 h 88"/>
                <a:gd name="T24" fmla="*/ 244 w 258"/>
                <a:gd name="T25" fmla="*/ 54 h 88"/>
                <a:gd name="T26" fmla="*/ 230 w 258"/>
                <a:gd name="T27" fmla="*/ 46 h 88"/>
                <a:gd name="T28" fmla="*/ 210 w 258"/>
                <a:gd name="T29" fmla="*/ 36 h 88"/>
                <a:gd name="T30" fmla="*/ 184 w 258"/>
                <a:gd name="T31" fmla="*/ 26 h 88"/>
                <a:gd name="T32" fmla="*/ 150 w 258"/>
                <a:gd name="T33" fmla="*/ 14 h 88"/>
                <a:gd name="T34" fmla="*/ 108 w 258"/>
                <a:gd name="T35" fmla="*/ 0 h 88"/>
                <a:gd name="T36" fmla="*/ 108 w 258"/>
                <a:gd name="T37" fmla="*/ 0 h 88"/>
                <a:gd name="T38" fmla="*/ 108 w 258"/>
                <a:gd name="T39" fmla="*/ 18 h 88"/>
                <a:gd name="T40" fmla="*/ 76 w 258"/>
                <a:gd name="T41" fmla="*/ 6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8" h="88">
                  <a:moveTo>
                    <a:pt x="76" y="68"/>
                  </a:moveTo>
                  <a:lnTo>
                    <a:pt x="0" y="84"/>
                  </a:lnTo>
                  <a:lnTo>
                    <a:pt x="0" y="84"/>
                  </a:lnTo>
                  <a:lnTo>
                    <a:pt x="58" y="88"/>
                  </a:lnTo>
                  <a:lnTo>
                    <a:pt x="110" y="88"/>
                  </a:lnTo>
                  <a:lnTo>
                    <a:pt x="154" y="86"/>
                  </a:lnTo>
                  <a:lnTo>
                    <a:pt x="190" y="80"/>
                  </a:lnTo>
                  <a:lnTo>
                    <a:pt x="220" y="76"/>
                  </a:lnTo>
                  <a:lnTo>
                    <a:pt x="240" y="70"/>
                  </a:lnTo>
                  <a:lnTo>
                    <a:pt x="258" y="66"/>
                  </a:lnTo>
                  <a:lnTo>
                    <a:pt x="258" y="66"/>
                  </a:lnTo>
                  <a:lnTo>
                    <a:pt x="252" y="60"/>
                  </a:lnTo>
                  <a:lnTo>
                    <a:pt x="244" y="54"/>
                  </a:lnTo>
                  <a:lnTo>
                    <a:pt x="230" y="46"/>
                  </a:lnTo>
                  <a:lnTo>
                    <a:pt x="210" y="36"/>
                  </a:lnTo>
                  <a:lnTo>
                    <a:pt x="184" y="26"/>
                  </a:lnTo>
                  <a:lnTo>
                    <a:pt x="150" y="14"/>
                  </a:lnTo>
                  <a:lnTo>
                    <a:pt x="108" y="0"/>
                  </a:lnTo>
                  <a:lnTo>
                    <a:pt x="108" y="0"/>
                  </a:lnTo>
                  <a:lnTo>
                    <a:pt x="108" y="18"/>
                  </a:lnTo>
                  <a:lnTo>
                    <a:pt x="76" y="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ru-RU" sz="1013"/>
            </a:p>
          </p:txBody>
        </p:sp>
        <p:sp>
          <p:nvSpPr>
            <p:cNvPr id="18" name="Freeform 119"/>
            <p:cNvSpPr>
              <a:spLocks/>
            </p:cNvSpPr>
            <p:nvPr/>
          </p:nvSpPr>
          <p:spPr bwMode="auto">
            <a:xfrm>
              <a:off x="1554163" y="1852613"/>
              <a:ext cx="101600" cy="22225"/>
            </a:xfrm>
            <a:custGeom>
              <a:avLst/>
              <a:gdLst>
                <a:gd name="T0" fmla="*/ 64 w 64"/>
                <a:gd name="T1" fmla="*/ 2 h 14"/>
                <a:gd name="T2" fmla="*/ 30 w 64"/>
                <a:gd name="T3" fmla="*/ 0 h 14"/>
                <a:gd name="T4" fmla="*/ 0 w 64"/>
                <a:gd name="T5" fmla="*/ 12 h 14"/>
                <a:gd name="T6" fmla="*/ 34 w 64"/>
                <a:gd name="T7" fmla="*/ 14 h 14"/>
                <a:gd name="T8" fmla="*/ 64 w 64"/>
                <a:gd name="T9" fmla="*/ 2 h 14"/>
              </a:gdLst>
              <a:ahLst/>
              <a:cxnLst>
                <a:cxn ang="0">
                  <a:pos x="T0" y="T1"/>
                </a:cxn>
                <a:cxn ang="0">
                  <a:pos x="T2" y="T3"/>
                </a:cxn>
                <a:cxn ang="0">
                  <a:pos x="T4" y="T5"/>
                </a:cxn>
                <a:cxn ang="0">
                  <a:pos x="T6" y="T7"/>
                </a:cxn>
                <a:cxn ang="0">
                  <a:pos x="T8" y="T9"/>
                </a:cxn>
              </a:cxnLst>
              <a:rect l="0" t="0" r="r" b="b"/>
              <a:pathLst>
                <a:path w="64" h="14">
                  <a:moveTo>
                    <a:pt x="64" y="2"/>
                  </a:moveTo>
                  <a:lnTo>
                    <a:pt x="30" y="0"/>
                  </a:lnTo>
                  <a:lnTo>
                    <a:pt x="0" y="12"/>
                  </a:lnTo>
                  <a:lnTo>
                    <a:pt x="34" y="14"/>
                  </a:lnTo>
                  <a:lnTo>
                    <a:pt x="64"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ru-RU" sz="1013"/>
            </a:p>
          </p:txBody>
        </p:sp>
      </p:grpSp>
      <p:grpSp>
        <p:nvGrpSpPr>
          <p:cNvPr id="3" name="Группа 2"/>
          <p:cNvGrpSpPr/>
          <p:nvPr/>
        </p:nvGrpSpPr>
        <p:grpSpPr>
          <a:xfrm>
            <a:off x="3977934" y="3552980"/>
            <a:ext cx="6258009" cy="2828348"/>
            <a:chOff x="5303912" y="3212976"/>
            <a:chExt cx="8344012" cy="3771130"/>
          </a:xfrm>
        </p:grpSpPr>
        <p:sp>
          <p:nvSpPr>
            <p:cNvPr id="19" name="Параллелограмм 18"/>
            <p:cNvSpPr/>
            <p:nvPr/>
          </p:nvSpPr>
          <p:spPr>
            <a:xfrm>
              <a:off x="5447928" y="3970960"/>
              <a:ext cx="8199996" cy="3013146"/>
            </a:xfrm>
            <a:prstGeom prst="parallelogram">
              <a:avLst>
                <a:gd name="adj" fmla="val 44826"/>
              </a:avLst>
            </a:prstGeom>
            <a:solidFill>
              <a:schemeClr val="bg2">
                <a:alpha val="56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350"/>
            </a:p>
          </p:txBody>
        </p:sp>
        <p:sp>
          <p:nvSpPr>
            <p:cNvPr id="12" name="Прямоугольник 11"/>
            <p:cNvSpPr/>
            <p:nvPr/>
          </p:nvSpPr>
          <p:spPr>
            <a:xfrm>
              <a:off x="5303912" y="3527529"/>
              <a:ext cx="5129695" cy="455509"/>
            </a:xfrm>
            <a:prstGeom prst="rect">
              <a:avLst/>
            </a:prstGeom>
          </p:spPr>
          <p:txBody>
            <a:bodyPr wrap="square">
              <a:spAutoFit/>
            </a:bodyPr>
            <a:lstStyle/>
            <a:p>
              <a:pPr marL="0" lvl="1" algn="r" fontAlgn="base">
                <a:lnSpc>
                  <a:spcPct val="90000"/>
                </a:lnSpc>
                <a:spcBef>
                  <a:spcPct val="0"/>
                </a:spcBef>
                <a:spcAft>
                  <a:spcPct val="0"/>
                </a:spcAft>
              </a:pPr>
              <a:r>
                <a:rPr lang="fi-FI" kern="0" dirty="0">
                  <a:solidFill>
                    <a:schemeClr val="bg1"/>
                  </a:solidFill>
                  <a:latin typeface="Arial" panose="020B0604020202020204" pitchFamily="34" charset="0"/>
                </a:rPr>
                <a:t>COMMISSIONING DATE</a:t>
              </a:r>
              <a:r>
                <a:rPr lang="ru-RU" kern="0" dirty="0">
                  <a:solidFill>
                    <a:schemeClr val="bg1"/>
                  </a:solidFill>
                  <a:latin typeface="Arial" panose="020B0604020202020204" pitchFamily="34" charset="0"/>
                </a:rPr>
                <a:t>:</a:t>
              </a:r>
              <a:endParaRPr lang="ru-RU" kern="0" dirty="0">
                <a:solidFill>
                  <a:schemeClr val="bg1"/>
                </a:solidFill>
              </a:endParaRPr>
            </a:p>
          </p:txBody>
        </p:sp>
        <p:sp>
          <p:nvSpPr>
            <p:cNvPr id="7" name="TextBox 6"/>
            <p:cNvSpPr txBox="1"/>
            <p:nvPr/>
          </p:nvSpPr>
          <p:spPr>
            <a:xfrm>
              <a:off x="6240017" y="4295808"/>
              <a:ext cx="5400600" cy="2339101"/>
            </a:xfrm>
            <a:prstGeom prst="rect">
              <a:avLst/>
            </a:prstGeom>
            <a:noFill/>
          </p:spPr>
          <p:txBody>
            <a:bodyPr wrap="square" rtlCol="0">
              <a:spAutoFit/>
            </a:bodyPr>
            <a:lstStyle/>
            <a:p>
              <a:pPr algn="r"/>
              <a:r>
                <a:rPr lang="en-US" dirty="0">
                  <a:solidFill>
                    <a:schemeClr val="bg1"/>
                  </a:solidFill>
                </a:rPr>
                <a:t>After commissioning FNPP will replace aging power generating capacities providing electrical power to the city of Pevek, one of the major Arctic ports in the North-East of Russia</a:t>
              </a:r>
              <a:endParaRPr lang="ru-RU" dirty="0">
                <a:solidFill>
                  <a:schemeClr val="bg1"/>
                </a:solidFill>
              </a:endParaRPr>
            </a:p>
          </p:txBody>
        </p:sp>
        <p:sp>
          <p:nvSpPr>
            <p:cNvPr id="6" name="Прямоугольник 5"/>
            <p:cNvSpPr/>
            <p:nvPr/>
          </p:nvSpPr>
          <p:spPr>
            <a:xfrm>
              <a:off x="10322379" y="3212976"/>
              <a:ext cx="1502976" cy="800219"/>
            </a:xfrm>
            <a:prstGeom prst="rect">
              <a:avLst/>
            </a:prstGeom>
          </p:spPr>
          <p:txBody>
            <a:bodyPr wrap="none">
              <a:spAutoFit/>
            </a:bodyPr>
            <a:lstStyle/>
            <a:p>
              <a:r>
                <a:rPr lang="fi-FI" sz="3300" kern="0" dirty="0">
                  <a:solidFill>
                    <a:schemeClr val="bg1"/>
                  </a:solidFill>
                </a:rPr>
                <a:t>2019</a:t>
              </a:r>
              <a:endParaRPr lang="ru-RU" sz="3300" dirty="0">
                <a:solidFill>
                  <a:schemeClr val="bg1"/>
                </a:solidFill>
              </a:endParaRPr>
            </a:p>
          </p:txBody>
        </p:sp>
      </p:grpSp>
      <p:sp>
        <p:nvSpPr>
          <p:cNvPr id="21" name="Номер слайда 3"/>
          <p:cNvSpPr>
            <a:spLocks noGrp="1"/>
          </p:cNvSpPr>
          <p:nvPr>
            <p:ph type="sldNum" sz="quarter" idx="4294967295"/>
          </p:nvPr>
        </p:nvSpPr>
        <p:spPr>
          <a:xfrm>
            <a:off x="8260624" y="6448967"/>
            <a:ext cx="627185" cy="377825"/>
          </a:xfrm>
          <a:prstGeom prst="rect">
            <a:avLst/>
          </a:prstGeom>
        </p:spPr>
        <p:txBody>
          <a:bodyPr/>
          <a:lstStyle/>
          <a:p>
            <a:pPr algn="r" defTabSz="666976" fontAlgn="base">
              <a:spcBef>
                <a:spcPct val="0"/>
              </a:spcBef>
              <a:spcAft>
                <a:spcPct val="0"/>
              </a:spcAft>
              <a:defRPr/>
            </a:pPr>
            <a:r>
              <a:rPr lang="en-US" b="1" dirty="0">
                <a:solidFill>
                  <a:srgbClr val="003274"/>
                </a:solidFill>
                <a:latin typeface="Arial" pitchFamily="34" charset="0"/>
                <a:cs typeface="Arial" pitchFamily="34" charset="0"/>
                <a:sym typeface="Arial"/>
              </a:rPr>
              <a:t>16</a:t>
            </a:r>
            <a:endParaRPr lang="ru-RU" b="1" dirty="0">
              <a:solidFill>
                <a:srgbClr val="003274"/>
              </a:solidFill>
              <a:latin typeface="Arial" pitchFamily="34" charset="0"/>
              <a:cs typeface="Arial" pitchFamily="34" charset="0"/>
              <a:sym typeface="Arial"/>
            </a:endParaRPr>
          </a:p>
        </p:txBody>
      </p:sp>
    </p:spTree>
    <p:extLst>
      <p:ext uri="{BB962C8B-B14F-4D97-AF65-F5344CB8AC3E}">
        <p14:creationId xmlns:p14="http://schemas.microsoft.com/office/powerpoint/2010/main" val="15133678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1+#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2" fill="hold" nodeType="after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500" fill="hold"/>
                                        <p:tgtEl>
                                          <p:spTgt spid="3"/>
                                        </p:tgtEl>
                                        <p:attrNameLst>
                                          <p:attrName>ppt_x</p:attrName>
                                        </p:attrNameLst>
                                      </p:cBhvr>
                                      <p:tavLst>
                                        <p:tav tm="0">
                                          <p:val>
                                            <p:strVal val="1+#ppt_w/2"/>
                                          </p:val>
                                        </p:tav>
                                        <p:tav tm="100000">
                                          <p:val>
                                            <p:strVal val="#ppt_x"/>
                                          </p:val>
                                        </p:tav>
                                      </p:tavLst>
                                    </p:anim>
                                    <p:anim calcmode="lin" valueType="num">
                                      <p:cBhvr additive="base">
                                        <p:cTn id="17"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ctrTitle"/>
          </p:nvPr>
        </p:nvSpPr>
        <p:spPr/>
        <p:txBody>
          <a:bodyPr/>
          <a:lstStyle/>
          <a:p>
            <a:r>
              <a:rPr lang="en-US" dirty="0"/>
              <a:t>Thank you for your attention!</a:t>
            </a:r>
            <a:endParaRPr lang="ru-RU" dirty="0"/>
          </a:p>
        </p:txBody>
      </p:sp>
    </p:spTree>
    <p:extLst>
      <p:ext uri="{BB962C8B-B14F-4D97-AF65-F5344CB8AC3E}">
        <p14:creationId xmlns:p14="http://schemas.microsoft.com/office/powerpoint/2010/main" val="14242935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5cYXR_9dE.BD.sUymzEt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5cYXR_9dE.BD.sUymzE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5cYXR_9dE.BD.sUymzE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5cYXR_9dE.BD.sUymzEtA"/>
</p:tagLst>
</file>

<file path=ppt/tags/tag7.xml><?xml version="1.0" encoding="utf-8"?>
<p:tagLst xmlns:a="http://schemas.openxmlformats.org/drawingml/2006/main" xmlns:r="http://schemas.openxmlformats.org/officeDocument/2006/relationships" xmlns:p="http://schemas.openxmlformats.org/presentationml/2006/main">
  <p:tag name="ADV_TOP" val="99,90228"/>
  <p:tag name="ADV_LEFT" val="144,3124"/>
  <p:tag name="ADV_HEIGHT" val="281,25"/>
  <p:tag name="ADV_WIDTH" val="491,37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eRpowPRT0mkGTz7sAQi9A"/>
</p:tagLst>
</file>

<file path=ppt/theme/theme1.xml><?xml version="1.0" encoding="utf-8"?>
<a:theme xmlns:a="http://schemas.openxmlformats.org/drawingml/2006/main" name="Rosatom_EN">
  <a:themeElements>
    <a:clrScheme name="RAOS">
      <a:dk1>
        <a:srgbClr val="191919"/>
      </a:dk1>
      <a:lt1>
        <a:srgbClr val="FFFFFF"/>
      </a:lt1>
      <a:dk2>
        <a:srgbClr val="003274"/>
      </a:dk2>
      <a:lt2>
        <a:srgbClr val="025EA1"/>
      </a:lt2>
      <a:accent1>
        <a:srgbClr val="4596D1"/>
      </a:accent1>
      <a:accent2>
        <a:srgbClr val="16A685"/>
      </a:accent2>
      <a:accent3>
        <a:srgbClr val="FFFFFF"/>
      </a:accent3>
      <a:accent4>
        <a:srgbClr val="3BA0BB"/>
      </a:accent4>
      <a:accent5>
        <a:srgbClr val="8EC13F"/>
      </a:accent5>
      <a:accent6>
        <a:srgbClr val="3E87BD"/>
      </a:accent6>
      <a:hlink>
        <a:srgbClr val="4596D1"/>
      </a:hlink>
      <a:folHlink>
        <a:srgbClr val="00327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40000"/>
            <a:lumOff val="60000"/>
          </a:schemeClr>
        </a:solidFill>
        <a:ln w="9525">
          <a:solidFill>
            <a:schemeClr val="tx1">
              <a:lumMod val="75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68CB408E0B0A046B00E2332777C42F3" ma:contentTypeVersion="2" ma:contentTypeDescription="Create a new document." ma:contentTypeScope="" ma:versionID="f5bd7d40f84a5ef162b14f8aef1e01fe">
  <xsd:schema xmlns:xsd="http://www.w3.org/2001/XMLSchema" xmlns:xs="http://www.w3.org/2001/XMLSchema" xmlns:p="http://schemas.microsoft.com/office/2006/metadata/properties" xmlns:ns2="3d196190-de7d-4704-bac1-0965097ba6b7" xmlns:ns3="2169ba21-dcb0-4b6f-a629-00f07f34de95" targetNamespace="http://schemas.microsoft.com/office/2006/metadata/properties" ma:root="true" ma:fieldsID="d6f80bbe08a5a632fffbf39e5afe8a41" ns2:_="" ns3:_="">
    <xsd:import namespace="3d196190-de7d-4704-bac1-0965097ba6b7"/>
    <xsd:import namespace="2169ba21-dcb0-4b6f-a629-00f07f34de95"/>
    <xsd:element name="properties">
      <xsd:complexType>
        <xsd:sequence>
          <xsd:element name="documentManagement">
            <xsd:complexType>
              <xsd:all>
                <xsd:element ref="ns2:_x0428__x0430__x0431__x043b__x043e__x043d__x044b_"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196190-de7d-4704-bac1-0965097ba6b7" elementFormDefault="qualified">
    <xsd:import namespace="http://schemas.microsoft.com/office/2006/documentManagement/types"/>
    <xsd:import namespace="http://schemas.microsoft.com/office/infopath/2007/PartnerControls"/>
    <xsd:element name="_x0428__x0430__x0431__x043b__x043e__x043d__x044b_" ma:index="8" nillable="true" ma:displayName="Шаблоны" ma:default="Шаблоны" ma:format="Dropdown" ma:internalName="_x0428__x0430__x0431__x043b__x043e__x043d__x044b_">
      <xsd:simpleType>
        <xsd:restriction base="dms:Choice">
          <xsd:enumeration value="Шаблоны"/>
          <xsd:enumeration value="Наборы заготовок"/>
          <xsd:enumeration value="Инструкция"/>
        </xsd:restriction>
      </xsd:simpleType>
    </xsd:element>
  </xsd:schema>
  <xsd:schema xmlns:xsd="http://www.w3.org/2001/XMLSchema" xmlns:xs="http://www.w3.org/2001/XMLSchema" xmlns:dms="http://schemas.microsoft.com/office/2006/documentManagement/types" xmlns:pc="http://schemas.microsoft.com/office/infopath/2007/PartnerControls" targetNamespace="2169ba21-dcb0-4b6f-a629-00f07f34de95" elementFormDefault="qualified">
    <xsd:import namespace="http://schemas.microsoft.com/office/2006/documentManagement/types"/>
    <xsd:import namespace="http://schemas.microsoft.com/office/infopath/2007/PartnerControls"/>
    <xsd:element name="SharedWithUsers" ma:index="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x0428__x0430__x0431__x043b__x043e__x043d__x044b_ xmlns="3d196190-de7d-4704-bac1-0965097ba6b7">Шаблоны</_x0428__x0430__x0431__x043b__x043e__x043d__x044b_>
  </documentManagement>
</p:properties>
</file>

<file path=customXml/itemProps1.xml><?xml version="1.0" encoding="utf-8"?>
<ds:datastoreItem xmlns:ds="http://schemas.openxmlformats.org/officeDocument/2006/customXml" ds:itemID="{48C7BAC2-E648-4DD9-B296-9B2279D35E09}">
  <ds:schemaRefs>
    <ds:schemaRef ds:uri="http://schemas.microsoft.com/sharepoint/v3/contenttype/forms"/>
  </ds:schemaRefs>
</ds:datastoreItem>
</file>

<file path=customXml/itemProps2.xml><?xml version="1.0" encoding="utf-8"?>
<ds:datastoreItem xmlns:ds="http://schemas.openxmlformats.org/officeDocument/2006/customXml" ds:itemID="{A4666A2F-B1B0-4FE5-9636-5C1700F4B1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196190-de7d-4704-bac1-0965097ba6b7"/>
    <ds:schemaRef ds:uri="2169ba21-dcb0-4b6f-a629-00f07f34de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CBA7FD1-517F-4C3B-BBBB-1E7DEDB19F8B}">
  <ds:schemaRefs>
    <ds:schemaRef ds:uri="http://schemas.microsoft.com/office/infopath/2007/PartnerControls"/>
    <ds:schemaRef ds:uri="2169ba21-dcb0-4b6f-a629-00f07f34de95"/>
    <ds:schemaRef ds:uri="http://purl.org/dc/dcmitype/"/>
    <ds:schemaRef ds:uri="http://purl.org/dc/terms/"/>
    <ds:schemaRef ds:uri="http://schemas.microsoft.com/office/2006/metadata/properties"/>
    <ds:schemaRef ds:uri="http://schemas.openxmlformats.org/package/2006/metadata/core-properties"/>
    <ds:schemaRef ds:uri="http://schemas.microsoft.com/office/2006/documentManagement/types"/>
    <ds:schemaRef ds:uri="http://purl.org/dc/elements/1.1/"/>
    <ds:schemaRef ds:uri="3d196190-de7d-4704-bac1-0965097ba6b7"/>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5564</TotalTime>
  <Words>394</Words>
  <Application>Microsoft Office PowerPoint</Application>
  <PresentationFormat>On-screen Show (4:3)</PresentationFormat>
  <Paragraphs>160</Paragraphs>
  <Slides>9</Slides>
  <Notes>8</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4" baseType="lpstr">
      <vt:lpstr>Arial</vt:lpstr>
      <vt:lpstr>Calibri</vt:lpstr>
      <vt:lpstr>Roboto Light</vt:lpstr>
      <vt:lpstr>Rosatom_EN</vt:lpstr>
      <vt:lpstr>think-cell Slide</vt:lpstr>
      <vt:lpstr> Rosatom: market solutions for EU customers  </vt:lpstr>
      <vt:lpstr>ROSATOM: Energy Major with Global Outreach</vt:lpstr>
      <vt:lpstr>Rosatom Integrated Offer</vt:lpstr>
      <vt:lpstr>Rosatom references: Global VVER Fleet</vt:lpstr>
      <vt:lpstr>PowerPoint Presentation</vt:lpstr>
      <vt:lpstr>IMPLEMENTING VARIOUS MODELS: FLEXIBILITY FOR PROJECTS</vt:lpstr>
      <vt:lpstr>PowerPoint Presentation</vt:lpstr>
      <vt:lpstr>World’s first floating nuclear power plant FNPP Akademik Lomonosov</vt:lpstr>
      <vt:lpstr>Thank you for your atten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user</dc:creator>
  <cp:lastModifiedBy>Ilya Solovyev</cp:lastModifiedBy>
  <cp:revision>2402</cp:revision>
  <cp:lastPrinted>2019-02-13T08:13:46Z</cp:lastPrinted>
  <dcterms:created xsi:type="dcterms:W3CDTF">2016-02-25T07:17:59Z</dcterms:created>
  <dcterms:modified xsi:type="dcterms:W3CDTF">2019-05-17T05:4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8CB408E0B0A046B00E2332777C42F3</vt:lpwstr>
  </property>
</Properties>
</file>